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4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78" r:id="rId1"/>
  </p:sldMasterIdLst>
  <p:notesMasterIdLst>
    <p:notesMasterId r:id="rId11"/>
  </p:notesMasterIdLst>
  <p:handoutMasterIdLst>
    <p:handoutMasterId r:id="rId12"/>
  </p:handoutMasterIdLst>
  <p:sldIdLst>
    <p:sldId id="259" r:id="rId2"/>
    <p:sldId id="2134804715" r:id="rId3"/>
    <p:sldId id="2134804713" r:id="rId4"/>
    <p:sldId id="2134804712" r:id="rId5"/>
    <p:sldId id="2134804716" r:id="rId6"/>
    <p:sldId id="2134804718" r:id="rId7"/>
    <p:sldId id="2134804717" r:id="rId8"/>
    <p:sldId id="2134804719" r:id="rId9"/>
    <p:sldId id="2134804705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02" userDrawn="1">
          <p15:clr>
            <a:srgbClr val="A4A3A4"/>
          </p15:clr>
        </p15:guide>
        <p15:guide id="2" pos="7378" userDrawn="1">
          <p15:clr>
            <a:srgbClr val="A4A3A4"/>
          </p15:clr>
        </p15:guide>
        <p15:guide id="3" orient="horz" pos="3974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rry Saskia Stanila" initials="CSS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B66A95-ABB7-42EA-8C2D-0494DD13D28D}" v="446" dt="2020-11-02T09:36:39.009"/>
  </p1510:revLst>
</p1510:revInfo>
</file>

<file path=ppt/tableStyles.xml><?xml version="1.0" encoding="utf-8"?>
<a:tblStyleLst xmlns:a="http://schemas.openxmlformats.org/drawingml/2006/main" def="{44C66F81-60D0-41F3-BD94-36A2124DB039}">
  <a:tblStyle styleId="{44C66F81-60D0-41F3-BD94-36A2124DB039}" styleName="Schaeffler Tab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9050" cmpd="sng">
              <a:solidFill>
                <a:schemeClr val="accent3"/>
              </a:solidFill>
            </a:ln>
          </a:bottom>
          <a:insideH>
            <a:ln w="9525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>
        <a:fontRef idx="minor">
          <a:scrgbClr r="0" g="0" b="0"/>
        </a:fontRef>
        <a:schemeClr val="tx1"/>
      </a:tcTxStyle>
      <a:tcStyle>
        <a:tcBdr>
          <a:top>
            <a:ln>
              <a:noFill/>
            </a:ln>
          </a:top>
        </a:tcBdr>
        <a:fill>
          <a:solidFill>
            <a:srgbClr val="E3E3E3"/>
          </a:solidFill>
        </a:fill>
      </a:tcStyle>
    </a:lastRow>
    <a:firstRow>
      <a:tcTxStyle b="on"/>
      <a:tcStyle>
        <a:tcBdr>
          <a:top>
            <a:ln>
              <a:noFill/>
            </a:ln>
          </a:top>
          <a:bottom>
            <a:ln w="1905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1162" autoAdjust="0"/>
  </p:normalViewPr>
  <p:slideViewPr>
    <p:cSldViewPr showGuides="1">
      <p:cViewPr varScale="1">
        <p:scale>
          <a:sx n="119" d="100"/>
          <a:sy n="119" d="100"/>
        </p:scale>
        <p:origin x="108" y="228"/>
      </p:cViewPr>
      <p:guideLst>
        <p:guide pos="302"/>
        <p:guide pos="7378"/>
        <p:guide orient="horz" pos="3974"/>
        <p:guide orient="horz" pos="1026"/>
      </p:guideLst>
    </p:cSldViewPr>
  </p:slideViewPr>
  <p:outlineViewPr>
    <p:cViewPr>
      <p:scale>
        <a:sx n="33" d="100"/>
        <a:sy n="33" d="100"/>
      </p:scale>
      <p:origin x="0" y="-2925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391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48680" y="8820496"/>
            <a:ext cx="936104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/>
            </a:lvl1pPr>
          </a:lstStyle>
          <a:p>
            <a:pPr algn="l"/>
            <a:fld id="{05829D4B-DA62-4BFC-809E-15F35A608AB6}" type="datetime1">
              <a:rPr lang="en-US" sz="1000"/>
              <a:t>2/7/2024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556792" y="8820472"/>
            <a:ext cx="504056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88640" y="8820472"/>
            <a:ext cx="288032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/>
            </a:lvl1pPr>
          </a:lstStyle>
          <a:p>
            <a:fld id="{85170805-57F0-4185-904A-8327B8E48718}" type="slidenum">
              <a:rPr lang="en-US" sz="1000"/>
              <a:pPr/>
              <a:t>‹Nr.›</a:t>
            </a:fld>
            <a:endParaRPr lang="en-US" sz="10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57192" y="395536"/>
            <a:ext cx="1440000" cy="16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5498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20688" y="8676456"/>
            <a:ext cx="864096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0546454C-C19B-459D-B1D7-0AB5ABE7B800}" type="datetime1">
              <a:rPr lang="en-US"/>
              <a:t>2/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0350" y="250825"/>
            <a:ext cx="5486400" cy="308610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60648" y="3491880"/>
            <a:ext cx="6336704" cy="496855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556792" y="8676480"/>
            <a:ext cx="504056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41176" y="8676480"/>
            <a:ext cx="307504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7050EDB2-57C8-4CAE-B8DE-69B518AB0745}" type="slidenum">
              <a:rPr lang="en-US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294047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defRPr sz="14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buClr>
        <a:schemeClr val="accent2"/>
      </a:buClr>
      <a:buFont typeface="Wingdings 3" panose="05040102010807070707" pitchFamily="18" charset="2"/>
      <a:buNone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0" indent="-18000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buClr>
        <a:schemeClr val="bg2"/>
      </a:buClr>
      <a:buFont typeface="Calibri" panose="020F0502020204030204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buClrTx/>
      <a:buFont typeface="Calibri" panose="020F0502020204030204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540000" indent="-18000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buClrTx/>
      <a:buFont typeface="Calibri" panose="020F0502020204030204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540000" indent="-18000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buClrTx/>
      <a:buFont typeface="Calibri" panose="020F0502020204030204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540000" indent="-18000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buClrTx/>
      <a:buFont typeface="Calibri" panose="020F0502020204030204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540000" indent="-18000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buClrTx/>
      <a:buFont typeface="Calibri" panose="020F0502020204030204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540000" indent="-18000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buClrTx/>
      <a:buFont typeface="Calibri" panose="020F0502020204030204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altLang="zh-CN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546454C-C19B-459D-B1D7-0AB5ABE7B800}" type="datetime1">
              <a:rPr lang="de-DE" altLang="zh-CN"/>
              <a:t>07.02.2024</a:t>
            </a:fld>
            <a:endParaRPr lang="de-DE" altLang="zh-CN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 altLang="zh-CN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50EDB2-57C8-4CAE-B8DE-69B518AB0745}" type="slidenum">
              <a:rPr lang="de-DE" altLang="zh-CN"/>
              <a:pPr/>
              <a:t>1</a:t>
            </a:fld>
            <a:endParaRPr lang="de-DE" altLang="zh-CN" dirty="0"/>
          </a:p>
        </p:txBody>
      </p:sp>
    </p:spTree>
    <p:extLst>
      <p:ext uri="{BB962C8B-B14F-4D97-AF65-F5344CB8AC3E}">
        <p14:creationId xmlns:p14="http://schemas.microsoft.com/office/powerpoint/2010/main" val="42471904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51FA446-078D-4002-92CF-90B215E1D10F}" type="datetime1">
              <a:rPr lang="en-US"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0EDB2-57C8-4CAE-B8DE-69B518AB0745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59003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altLang="zh-CN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546454C-C19B-459D-B1D7-0AB5ABE7B800}" type="datetime1">
              <a:rPr lang="de-DE" altLang="zh-CN"/>
              <a:t>07.02.2024</a:t>
            </a:fld>
            <a:endParaRPr lang="de-DE" altLang="zh-CN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 altLang="zh-CN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50EDB2-57C8-4CAE-B8DE-69B518AB0745}" type="slidenum">
              <a:rPr lang="de-DE" altLang="zh-CN"/>
              <a:pPr/>
              <a:t>4</a:t>
            </a:fld>
            <a:endParaRPr lang="de-DE" altLang="zh-CN" dirty="0"/>
          </a:p>
        </p:txBody>
      </p:sp>
    </p:spTree>
    <p:extLst>
      <p:ext uri="{BB962C8B-B14F-4D97-AF65-F5344CB8AC3E}">
        <p14:creationId xmlns:p14="http://schemas.microsoft.com/office/powerpoint/2010/main" val="38108633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51FA446-078D-4002-92CF-90B215E1D10F}" type="datetime1">
              <a:rPr lang="en-US"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0EDB2-57C8-4CAE-B8DE-69B518AB0745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5900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51FA446-078D-4002-92CF-90B215E1D10F}" type="datetime1">
              <a:rPr lang="en-US"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0EDB2-57C8-4CAE-B8DE-69B518AB0745}" type="slidenum">
              <a:rPr lang="en-US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59003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altLang="zh-CN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5D6FCE2-68D7-4F3D-AFB1-058E6B733935}" type="datetime1">
              <a:rPr lang="de-DE" altLang="zh-CN"/>
              <a:t>07.02.2024</a:t>
            </a:fld>
            <a:endParaRPr lang="de-DE" altLang="zh-CN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 altLang="zh-CN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50EDB2-57C8-4CAE-B8DE-69B518AB0745}" type="slidenum">
              <a:rPr lang="de-DE" altLang="zh-CN"/>
              <a:pPr/>
              <a:t>9</a:t>
            </a:fld>
            <a:endParaRPr lang="de-DE" altLang="zh-CN" dirty="0"/>
          </a:p>
        </p:txBody>
      </p:sp>
    </p:spTree>
    <p:extLst>
      <p:ext uri="{BB962C8B-B14F-4D97-AF65-F5344CB8AC3E}">
        <p14:creationId xmlns:p14="http://schemas.microsoft.com/office/powerpoint/2010/main" val="2890363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696000" y="4077072"/>
            <a:ext cx="11016575" cy="792000"/>
          </a:xfrm>
          <a:prstGeom prst="rect">
            <a:avLst/>
          </a:prstGeom>
        </p:spPr>
        <p:txBody>
          <a:bodyPr tIns="0" anchor="b"/>
          <a:lstStyle>
            <a:lvl1pPr algn="l">
              <a:lnSpc>
                <a:spcPct val="85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A85A5AA7-48AF-4602-B055-91203610A8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4869656"/>
            <a:ext cx="11016574" cy="863600"/>
          </a:xfrm>
        </p:spPr>
        <p:txBody>
          <a:bodyPr anchor="b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b="0"/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b="0"/>
            </a:lvl2pPr>
            <a:lvl3pPr marL="0" indent="0" algn="l">
              <a:spcBef>
                <a:spcPts val="0"/>
              </a:spcBef>
              <a:buNone/>
              <a:defRPr b="0"/>
            </a:lvl3pPr>
            <a:lvl4pPr marL="0" indent="0" algn="l">
              <a:spcBef>
                <a:spcPts val="0"/>
              </a:spcBef>
              <a:buNone/>
              <a:defRPr b="0"/>
            </a:lvl4pPr>
            <a:lvl5pPr marL="0" indent="0" algn="l">
              <a:spcBef>
                <a:spcPts val="0"/>
              </a:spcBef>
              <a:buNone/>
              <a:defRPr b="0"/>
            </a:lvl5pPr>
            <a:lvl6pPr marL="0" indent="0" algn="l">
              <a:spcBef>
                <a:spcPts val="0"/>
              </a:spcBef>
              <a:buNone/>
              <a:defRPr b="0"/>
            </a:lvl6pPr>
            <a:lvl7pPr marL="0" indent="0" algn="l">
              <a:spcBef>
                <a:spcPts val="0"/>
              </a:spcBef>
              <a:buNone/>
              <a:defRPr b="0"/>
            </a:lvl7pPr>
            <a:lvl8pPr marL="0" indent="0" algn="l">
              <a:spcBef>
                <a:spcPts val="0"/>
              </a:spcBef>
              <a:buNone/>
              <a:defRPr b="0"/>
            </a:lvl8pPr>
            <a:lvl9pPr marL="0" indent="0" algn="l">
              <a:spcBef>
                <a:spcPts val="0"/>
              </a:spcBef>
              <a:buNone/>
              <a:defRPr b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5" name="Hide Copyright white field">
            <a:extLst>
              <a:ext uri="{FF2B5EF4-FFF2-40B4-BE49-F238E27FC236}">
                <a16:creationId xmlns:a16="http://schemas.microsoft.com/office/drawing/2014/main" id="{17755C1F-FDA8-44A8-9AE0-DAA7520915C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 rot="5400000">
            <a:off x="9242039" y="4747460"/>
            <a:ext cx="476673" cy="374441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0" hasCustomPrompt="1"/>
            <p:custDataLst>
              <p:tags r:id="rId2"/>
            </p:custDataLst>
          </p:nvPr>
        </p:nvSpPr>
        <p:spPr bwMode="gray">
          <a:xfrm>
            <a:off x="0" y="836613"/>
            <a:ext cx="12192000" cy="2880000"/>
          </a:xfrm>
          <a:prstGeom prst="rect">
            <a:avLst/>
          </a:prstGeom>
          <a:solidFill>
            <a:srgbClr val="E3E3E3"/>
          </a:solidFill>
        </p:spPr>
        <p:txBody>
          <a:bodyPr tIns="504000" anchor="ctr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Green Marker">
            <a:extLst>
              <a:ext uri="{FF2B5EF4-FFF2-40B4-BE49-F238E27FC236}">
                <a16:creationId xmlns:a16="http://schemas.microsoft.com/office/drawing/2014/main" id="{B8307701-0ED4-494D-8CFD-0E5B82B4A3DB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 bwMode="gray">
          <a:xfrm>
            <a:off x="0" y="2672613"/>
            <a:ext cx="252000" cy="2088000"/>
          </a:xfrm>
          <a:solidFill>
            <a:srgbClr val="00893E">
              <a:alpha val="80000"/>
            </a:srgb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sz="1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White Area Logo" hidden="1">
            <a:extLst>
              <a:ext uri="{FF2B5EF4-FFF2-40B4-BE49-F238E27FC236}">
                <a16:creationId xmlns:a16="http://schemas.microsoft.com/office/drawing/2014/main" id="{BD5D9C66-3F22-420A-8F4D-63BA0545EE26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9408000" y="0"/>
            <a:ext cx="2784000" cy="765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Inhaltsplatzhalter 8">
            <a:extLst>
              <a:ext uri="{FF2B5EF4-FFF2-40B4-BE49-F238E27FC236}">
                <a16:creationId xmlns:a16="http://schemas.microsoft.com/office/drawing/2014/main" id="{51A62923-CEB0-40F7-BEC8-9810CFDFB48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091005" y="6308725"/>
            <a:ext cx="1633530" cy="182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3043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Grey Box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pter">
            <a:extLst>
              <a:ext uri="{FF2B5EF4-FFF2-40B4-BE49-F238E27FC236}">
                <a16:creationId xmlns:a16="http://schemas.microsoft.com/office/drawing/2014/main" id="{27A164CE-CCA8-4888-9211-7BE8837A97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7" name="Content Placeholder Left">
            <a:extLst>
              <a:ext uri="{FF2B5EF4-FFF2-40B4-BE49-F238E27FC236}">
                <a16:creationId xmlns:a16="http://schemas.microsoft.com/office/drawing/2014/main" id="{CE626908-E1AB-4CFF-B589-18F14E8E972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4" y="1628676"/>
            <a:ext cx="5400676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5" name="Grey Rectangle">
            <a:extLst>
              <a:ext uri="{FF2B5EF4-FFF2-40B4-BE49-F238E27FC236}">
                <a16:creationId xmlns:a16="http://schemas.microsoft.com/office/drawing/2014/main" id="{02EE3BEB-7F7C-417B-BDB5-3AEACA8B78E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flipH="1">
            <a:off x="6167438" y="1340767"/>
            <a:ext cx="6026400" cy="4967957"/>
          </a:xfrm>
          <a:prstGeom prst="rect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White Rectangle">
            <a:extLst>
              <a:ext uri="{FF2B5EF4-FFF2-40B4-BE49-F238E27FC236}">
                <a16:creationId xmlns:a16="http://schemas.microsoft.com/office/drawing/2014/main" id="{9B9AD2B1-578A-4211-9541-BA4E9EE2104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6311900" y="1484313"/>
            <a:ext cx="5545138" cy="468099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Content Placeholder Right"/>
          <p:cNvSpPr>
            <a:spLocks noGrp="1"/>
          </p:cNvSpPr>
          <p:nvPr>
            <p:ph sz="quarter" idx="17" hasCustomPrompt="1"/>
          </p:nvPr>
        </p:nvSpPr>
        <p:spPr bwMode="gray">
          <a:xfrm>
            <a:off x="6477000" y="1628675"/>
            <a:ext cx="5235624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BFFC728D-DA4E-40A3-985F-E0B860D48858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4" name="Slide Number Placeholder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16" name="Text Image Area" hidden="1">
            <a:extLst>
              <a:ext uri="{FF2B5EF4-FFF2-40B4-BE49-F238E27FC236}">
                <a16:creationId xmlns:a16="http://schemas.microsoft.com/office/drawing/2014/main" id="{F5537F9E-7E7D-4ABD-A7DF-89A4571531E1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7" name="White Area Logo" hidden="1">
            <a:extLst>
              <a:ext uri="{FF2B5EF4-FFF2-40B4-BE49-F238E27FC236}">
                <a16:creationId xmlns:a16="http://schemas.microsoft.com/office/drawing/2014/main" id="{34F8AD09-9877-4F9E-A213-15FC747CED8A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77612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Grey Text Box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hapter">
            <a:extLst>
              <a:ext uri="{FF2B5EF4-FFF2-40B4-BE49-F238E27FC236}">
                <a16:creationId xmlns:a16="http://schemas.microsoft.com/office/drawing/2014/main" id="{D4912701-0F1C-43DF-AA25-1EBFFF43684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7" name="Content Placeholder Left">
            <a:extLst>
              <a:ext uri="{FF2B5EF4-FFF2-40B4-BE49-F238E27FC236}">
                <a16:creationId xmlns:a16="http://schemas.microsoft.com/office/drawing/2014/main" id="{CA26B44B-9BF5-4CBF-87F9-C7A9787E0C9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479425" y="1628776"/>
            <a:ext cx="8280400" cy="43911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5" name="Grey Rectangle">
            <a:extLst>
              <a:ext uri="{FF2B5EF4-FFF2-40B4-BE49-F238E27FC236}">
                <a16:creationId xmlns:a16="http://schemas.microsoft.com/office/drawing/2014/main" id="{02EE3BEB-7F7C-417B-BDB5-3AEACA8B78E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flipH="1">
            <a:off x="9048328" y="1340767"/>
            <a:ext cx="3143672" cy="4967957"/>
          </a:xfrm>
          <a:prstGeom prst="rect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Content Placeholder Right">
            <a:extLst>
              <a:ext uri="{FF2B5EF4-FFF2-40B4-BE49-F238E27FC236}">
                <a16:creationId xmlns:a16="http://schemas.microsoft.com/office/drawing/2014/main" id="{59CDA235-7A85-4201-984D-3DF266BEC8C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9336360" y="1628676"/>
            <a:ext cx="2376215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0DBC8230-3EC6-4DF4-A435-4B4856A7E4EC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15" name="Text Image Area" hidden="1">
            <a:extLst>
              <a:ext uri="{FF2B5EF4-FFF2-40B4-BE49-F238E27FC236}">
                <a16:creationId xmlns:a16="http://schemas.microsoft.com/office/drawing/2014/main" id="{04774668-0BCB-4D9E-A23D-E9CF2E7D003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3" name="White Area Logo" hidden="1">
            <a:extLst>
              <a:ext uri="{FF2B5EF4-FFF2-40B4-BE49-F238E27FC236}">
                <a16:creationId xmlns:a16="http://schemas.microsoft.com/office/drawing/2014/main" id="{726010D0-A986-48F7-ACB0-8205E408BA0A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08331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Grey Text Box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hapter">
            <a:extLst>
              <a:ext uri="{FF2B5EF4-FFF2-40B4-BE49-F238E27FC236}">
                <a16:creationId xmlns:a16="http://schemas.microsoft.com/office/drawing/2014/main" id="{36472B10-CB63-4BBE-BC58-D79219AF5BF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5" name="Grey Rectangle">
            <a:extLst>
              <a:ext uri="{FF2B5EF4-FFF2-40B4-BE49-F238E27FC236}">
                <a16:creationId xmlns:a16="http://schemas.microsoft.com/office/drawing/2014/main" id="{02EE3BEB-7F7C-417B-BDB5-3AEACA8B78E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flipH="1">
            <a:off x="0" y="1340767"/>
            <a:ext cx="3143672" cy="4967957"/>
          </a:xfrm>
          <a:prstGeom prst="rect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noProof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59CDA235-7A85-4201-984D-3DF266BEC8C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896" y="1628676"/>
            <a:ext cx="2376214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7" name="Content Placeholder Right">
            <a:extLst>
              <a:ext uri="{FF2B5EF4-FFF2-40B4-BE49-F238E27FC236}">
                <a16:creationId xmlns:a16="http://schemas.microsoft.com/office/drawing/2014/main" id="{CA26B44B-9BF5-4CBF-87F9-C7A9787E0C9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3432224" y="1628776"/>
            <a:ext cx="8280400" cy="43911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65ABA92E-4C10-4B37-8658-4AFC3D1ED30C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15" name="Text Image Area" hidden="1">
            <a:extLst>
              <a:ext uri="{FF2B5EF4-FFF2-40B4-BE49-F238E27FC236}">
                <a16:creationId xmlns:a16="http://schemas.microsoft.com/office/drawing/2014/main" id="{0D09401C-9B51-4C51-BEED-F42B1741E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3" name="White Area Logo" hidden="1">
            <a:extLst>
              <a:ext uri="{FF2B5EF4-FFF2-40B4-BE49-F238E27FC236}">
                <a16:creationId xmlns:a16="http://schemas.microsoft.com/office/drawing/2014/main" id="{AB76935F-A92E-4CAD-81EE-B38E1F6849D2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919109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| 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hapter">
            <a:extLst>
              <a:ext uri="{FF2B5EF4-FFF2-40B4-BE49-F238E27FC236}">
                <a16:creationId xmlns:a16="http://schemas.microsoft.com/office/drawing/2014/main" id="{FCBB1231-371B-43D9-A2EE-03D5FD5B7EC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E7A8FA3C-69D1-4B71-8755-F8B0029CAF29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2"/>
            </p:custDataLst>
          </p:nvPr>
        </p:nvSpPr>
        <p:spPr bwMode="gray">
          <a:xfrm>
            <a:off x="0" y="1341438"/>
            <a:ext cx="7319963" cy="5516561"/>
          </a:xfrm>
          <a:prstGeom prst="rect">
            <a:avLst/>
          </a:prstGeom>
          <a:solidFill>
            <a:srgbClr val="E6E6E6"/>
          </a:solidFill>
        </p:spPr>
        <p:txBody>
          <a:bodyPr tIns="504000" anchor="ctr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">
            <a:extLst>
              <a:ext uri="{FF2B5EF4-FFF2-40B4-BE49-F238E27FC236}">
                <a16:creationId xmlns:a16="http://schemas.microsoft.com/office/drawing/2014/main" id="{80630B98-9998-4C96-BE61-119D3D206E2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7751762" y="1628775"/>
            <a:ext cx="3960813" cy="46799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706D975E-C991-4795-B048-AAA5F08488F1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3" name="Slide Number Placeholder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11" name="Text Image Area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326486"/>
            <a:ext cx="12192000" cy="5580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4" name="White Area Logo" hidden="1">
            <a:extLst>
              <a:ext uri="{FF2B5EF4-FFF2-40B4-BE49-F238E27FC236}">
                <a16:creationId xmlns:a16="http://schemas.microsoft.com/office/drawing/2014/main" id="{CD44816E-0CC3-4C4E-A0F3-05737A154956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163022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| 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hapter">
            <a:extLst>
              <a:ext uri="{FF2B5EF4-FFF2-40B4-BE49-F238E27FC236}">
                <a16:creationId xmlns:a16="http://schemas.microsoft.com/office/drawing/2014/main" id="{8E4BD567-E6E6-47C6-A8B9-277304BABC0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E7A8FA3C-69D1-4B71-8755-F8B0029CAF29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2"/>
            </p:custDataLst>
          </p:nvPr>
        </p:nvSpPr>
        <p:spPr bwMode="gray">
          <a:xfrm>
            <a:off x="0" y="1341438"/>
            <a:ext cx="3000375" cy="5516561"/>
          </a:xfrm>
          <a:prstGeom prst="rect">
            <a:avLst/>
          </a:prstGeom>
          <a:solidFill>
            <a:srgbClr val="E6E6E6"/>
          </a:solidFill>
        </p:spPr>
        <p:txBody>
          <a:bodyPr tIns="504000" anchor="ctr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">
            <a:extLst>
              <a:ext uri="{FF2B5EF4-FFF2-40B4-BE49-F238E27FC236}">
                <a16:creationId xmlns:a16="http://schemas.microsoft.com/office/drawing/2014/main" id="{80630B98-9998-4C96-BE61-119D3D206E2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3432175" y="1628775"/>
            <a:ext cx="8280401" cy="46799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1ACE6A6B-1755-49E2-8595-47DC32E2B2AF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3" name="Slide Number Placeholder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11" name="Text Image Area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326486"/>
            <a:ext cx="12192000" cy="554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4" name="White Area Logo" hidden="1">
            <a:extLst>
              <a:ext uri="{FF2B5EF4-FFF2-40B4-BE49-F238E27FC236}">
                <a16:creationId xmlns:a16="http://schemas.microsoft.com/office/drawing/2014/main" id="{2EECA0DE-FF42-42BD-B62C-BDDFD87D0634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594711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| Two Contents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pter">
            <a:extLst>
              <a:ext uri="{FF2B5EF4-FFF2-40B4-BE49-F238E27FC236}">
                <a16:creationId xmlns:a16="http://schemas.microsoft.com/office/drawing/2014/main" id="{CCA2FE1A-FD80-4861-BB60-F87DD1B87E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E7A8FA3C-69D1-4B71-8755-F8B0029CAF29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2"/>
            </p:custDataLst>
          </p:nvPr>
        </p:nvSpPr>
        <p:spPr bwMode="gray">
          <a:xfrm>
            <a:off x="0" y="1341438"/>
            <a:ext cx="3000375" cy="5516561"/>
          </a:xfrm>
          <a:prstGeom prst="rect">
            <a:avLst/>
          </a:prstGeom>
          <a:solidFill>
            <a:srgbClr val="E6E6E6"/>
          </a:solidFill>
        </p:spPr>
        <p:txBody>
          <a:bodyPr tIns="504000" anchor="ctr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Left">
            <a:extLst>
              <a:ext uri="{FF2B5EF4-FFF2-40B4-BE49-F238E27FC236}">
                <a16:creationId xmlns:a16="http://schemas.microsoft.com/office/drawing/2014/main" id="{80630B98-9998-4C96-BE61-119D3D206E2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3432177" y="1628775"/>
            <a:ext cx="3887960" cy="46799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9" name="Content Placeholder Right">
            <a:extLst>
              <a:ext uri="{FF2B5EF4-FFF2-40B4-BE49-F238E27FC236}">
                <a16:creationId xmlns:a16="http://schemas.microsoft.com/office/drawing/2014/main" id="{F63109F7-A293-49D9-BFDB-BE9787CF3B3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7752184" y="1628775"/>
            <a:ext cx="3960391" cy="46799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fld id="{815F6B34-149C-42FE-8A54-800BC786CD9E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4" name="Slide Number Placeholder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12" name="Text Image Area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326486"/>
            <a:ext cx="12192000" cy="554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5" name="White Area Logo" hidden="1">
            <a:extLst>
              <a:ext uri="{FF2B5EF4-FFF2-40B4-BE49-F238E27FC236}">
                <a16:creationId xmlns:a16="http://schemas.microsoft.com/office/drawing/2014/main" id="{699C4487-7E5D-4328-A2E8-284FEABC6DEC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260789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hapter">
            <a:extLst>
              <a:ext uri="{FF2B5EF4-FFF2-40B4-BE49-F238E27FC236}">
                <a16:creationId xmlns:a16="http://schemas.microsoft.com/office/drawing/2014/main" id="{6D64FFEB-661E-4ABF-80B8-2EBB565E49F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8BCA2C33-D052-48B1-ACD7-E891194FBCEB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10" name="Text Image Area" hidden="1">
            <a:extLst>
              <a:ext uri="{FF2B5EF4-FFF2-40B4-BE49-F238E27FC236}">
                <a16:creationId xmlns:a16="http://schemas.microsoft.com/office/drawing/2014/main" id="{376349E2-457D-4EEB-957E-197C0F7F779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3" name="White Area Logo" hidden="1">
            <a:extLst>
              <a:ext uri="{FF2B5EF4-FFF2-40B4-BE49-F238E27FC236}">
                <a16:creationId xmlns:a16="http://schemas.microsoft.com/office/drawing/2014/main" id="{D826ACE7-4702-44A9-A5E6-58886EA7AEB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26212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|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hapter">
            <a:extLst>
              <a:ext uri="{FF2B5EF4-FFF2-40B4-BE49-F238E27FC236}">
                <a16:creationId xmlns:a16="http://schemas.microsoft.com/office/drawing/2014/main" id="{6D64FFEB-661E-4ABF-80B8-2EBB565E49F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Grey Rectangle">
            <a:extLst>
              <a:ext uri="{FF2B5EF4-FFF2-40B4-BE49-F238E27FC236}">
                <a16:creationId xmlns:a16="http://schemas.microsoft.com/office/drawing/2014/main" id="{5665A2BB-04A2-4E15-ABE8-3616641AA7B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flipH="1">
            <a:off x="0" y="1340767"/>
            <a:ext cx="12192000" cy="4967957"/>
          </a:xfrm>
          <a:prstGeom prst="rect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9A2AC4BE-21A2-4F9A-BCF3-1FF752F16253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10" name="Text Image Area" hidden="1">
            <a:extLst>
              <a:ext uri="{FF2B5EF4-FFF2-40B4-BE49-F238E27FC236}">
                <a16:creationId xmlns:a16="http://schemas.microsoft.com/office/drawing/2014/main" id="{376349E2-457D-4EEB-957E-197C0F7F779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3" name="White Area Logo" hidden="1">
            <a:extLst>
              <a:ext uri="{FF2B5EF4-FFF2-40B4-BE49-F238E27FC236}">
                <a16:creationId xmlns:a16="http://schemas.microsoft.com/office/drawing/2014/main" id="{D826ACE7-4702-44A9-A5E6-58886EA7AEBA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786957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">
            <a:extLst>
              <a:ext uri="{FF2B5EF4-FFF2-40B4-BE49-F238E27FC236}">
                <a16:creationId xmlns:a16="http://schemas.microsoft.com/office/drawing/2014/main" id="{378AA6AF-1A20-4252-9153-C71617A55F1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F51C72A-8254-4239-BF3C-9A6CDF94C2F6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A44E59A1-4092-495B-993F-5EB21202AED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378099F-3C97-423A-9F67-8151D7BCB6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795237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up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ackup"/>
          <p:cNvSpPr/>
          <p:nvPr userDrawn="1"/>
        </p:nvSpPr>
        <p:spPr>
          <a:xfrm>
            <a:off x="5249615" y="3121224"/>
            <a:ext cx="1692771" cy="61555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rgbClr val="B6BAC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ACKUP</a:t>
            </a:r>
            <a:endParaRPr lang="en-US" dirty="0"/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E6E60343-2D85-44D6-9D18-166237D05AA3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Slide Number Placeholder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9" name="Text Image Area" hidden="1"/>
          <p:cNvSpPr/>
          <p:nvPr userDrawn="1">
            <p:custDataLst>
              <p:tags r:id="rId1"/>
            </p:custDataLst>
          </p:nvPr>
        </p:nvSpPr>
        <p:spPr bwMode="gray">
          <a:xfrm>
            <a:off x="0" y="1288386"/>
            <a:ext cx="12192000" cy="5580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2" name="White Area Logo" hidden="1">
            <a:extLst>
              <a:ext uri="{FF2B5EF4-FFF2-40B4-BE49-F238E27FC236}">
                <a16:creationId xmlns:a16="http://schemas.microsoft.com/office/drawing/2014/main" id="{6192CD53-FB56-4475-97BF-DC36F202953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521626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8256240" y="3357000"/>
            <a:ext cx="3456335" cy="1691640"/>
          </a:xfrm>
          <a:prstGeom prst="rect">
            <a:avLst/>
          </a:prstGeom>
        </p:spPr>
        <p:txBody>
          <a:bodyPr tIns="0" anchor="t"/>
          <a:lstStyle>
            <a:lvl1pPr algn="l">
              <a:lnSpc>
                <a:spcPct val="85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1CB7C0D4-D598-4127-B651-51E0183A22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256241" y="4550387"/>
            <a:ext cx="3456336" cy="720725"/>
          </a:xfrm>
        </p:spPr>
        <p:txBody>
          <a:bodyPr anchor="b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b="0"/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b="0"/>
            </a:lvl2pPr>
            <a:lvl3pPr marL="0" indent="0" algn="l">
              <a:spcBef>
                <a:spcPts val="0"/>
              </a:spcBef>
              <a:buNone/>
              <a:defRPr b="0"/>
            </a:lvl3pPr>
            <a:lvl4pPr marL="0" indent="0" algn="l">
              <a:spcBef>
                <a:spcPts val="0"/>
              </a:spcBef>
              <a:buNone/>
              <a:defRPr b="0"/>
            </a:lvl4pPr>
            <a:lvl5pPr marL="0" indent="0" algn="l">
              <a:spcBef>
                <a:spcPts val="0"/>
              </a:spcBef>
              <a:buNone/>
              <a:defRPr b="0"/>
            </a:lvl5pPr>
            <a:lvl6pPr marL="0" indent="0" algn="l">
              <a:spcBef>
                <a:spcPts val="0"/>
              </a:spcBef>
              <a:buNone/>
              <a:defRPr b="0"/>
            </a:lvl6pPr>
            <a:lvl7pPr marL="0" indent="0" algn="l">
              <a:spcBef>
                <a:spcPts val="0"/>
              </a:spcBef>
              <a:buNone/>
              <a:defRPr b="0"/>
            </a:lvl7pPr>
            <a:lvl8pPr marL="0" indent="0" algn="l">
              <a:spcBef>
                <a:spcPts val="0"/>
              </a:spcBef>
              <a:buNone/>
              <a:defRPr b="0"/>
            </a:lvl8pPr>
            <a:lvl9pPr marL="0" indent="0" algn="l">
              <a:spcBef>
                <a:spcPts val="0"/>
              </a:spcBef>
              <a:buNone/>
              <a:defRPr b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8" name="Hide Copyright white field">
            <a:extLst>
              <a:ext uri="{FF2B5EF4-FFF2-40B4-BE49-F238E27FC236}">
                <a16:creationId xmlns:a16="http://schemas.microsoft.com/office/drawing/2014/main" id="{C3A2F554-6550-48D0-96C8-F0AA9E14D48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 rot="5400000">
            <a:off x="9239727" y="4745147"/>
            <a:ext cx="476673" cy="374904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0" hasCustomPrompt="1"/>
            <p:custDataLst>
              <p:tags r:id="rId2"/>
            </p:custDataLst>
          </p:nvPr>
        </p:nvSpPr>
        <p:spPr bwMode="gray">
          <a:xfrm>
            <a:off x="0" y="0"/>
            <a:ext cx="7776000" cy="6858000"/>
          </a:xfrm>
          <a:prstGeom prst="rect">
            <a:avLst/>
          </a:prstGeom>
          <a:solidFill>
            <a:srgbClr val="E3E3E3"/>
          </a:solidFill>
        </p:spPr>
        <p:txBody>
          <a:bodyPr tIns="504000" anchor="ctr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Green Marker">
            <a:extLst>
              <a:ext uri="{FF2B5EF4-FFF2-40B4-BE49-F238E27FC236}">
                <a16:creationId xmlns:a16="http://schemas.microsoft.com/office/drawing/2014/main" id="{1CBD09FA-B9D1-408B-9DA6-B7B716E2986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 bwMode="gray">
          <a:xfrm>
            <a:off x="7662000" y="3358800"/>
            <a:ext cx="234000" cy="2088000"/>
          </a:xfrm>
          <a:solidFill>
            <a:srgbClr val="00893E">
              <a:alpha val="80000"/>
            </a:srgbClr>
          </a:solidFill>
        </p:spPr>
        <p:txBody>
          <a:bodyPr/>
          <a:lstStyle>
            <a:lvl1pPr>
              <a:defRPr sz="100">
                <a:solidFill>
                  <a:schemeClr val="accent2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White Area Logo" hidden="1">
            <a:extLst>
              <a:ext uri="{FF2B5EF4-FFF2-40B4-BE49-F238E27FC236}">
                <a16:creationId xmlns:a16="http://schemas.microsoft.com/office/drawing/2014/main" id="{D383153A-E3BC-493D-AD87-A4B89BA1AF4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3" name="Inhaltsplatzhalter 8">
            <a:extLst>
              <a:ext uri="{FF2B5EF4-FFF2-40B4-BE49-F238E27FC236}">
                <a16:creationId xmlns:a16="http://schemas.microsoft.com/office/drawing/2014/main" id="{FDDB1E25-54A8-498E-AA6B-72579A6F14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091005" y="6308725"/>
            <a:ext cx="1633530" cy="182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259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79376" y="2971800"/>
            <a:ext cx="2520000" cy="57600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noProof="0" dirty="0"/>
              <a:t>Thank you</a:t>
            </a:r>
          </a:p>
        </p:txBody>
      </p:sp>
      <p:sp>
        <p:nvSpPr>
          <p:cNvPr id="5" name="Text Placeholder">
            <a:extLst>
              <a:ext uri="{FF2B5EF4-FFF2-40B4-BE49-F238E27FC236}">
                <a16:creationId xmlns:a16="http://schemas.microsoft.com/office/drawing/2014/main" id="{6951B1BA-8093-4A5B-A719-21951C599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9425" y="3789363"/>
            <a:ext cx="2519363" cy="25193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Picture Placeholder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439816" y="1628775"/>
            <a:ext cx="7272760" cy="4680545"/>
          </a:xfrm>
          <a:prstGeom prst="rect">
            <a:avLst/>
          </a:prstGeom>
          <a:solidFill>
            <a:srgbClr val="E6E6E6"/>
          </a:solidFill>
        </p:spPr>
        <p:txBody>
          <a:bodyPr tIns="504000" anchor="ctr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F1C5BDA-1A9B-41A4-96C9-548A1DA4AB83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11" name="White Area Logo" hidden="1">
            <a:extLst>
              <a:ext uri="{FF2B5EF4-FFF2-40B4-BE49-F238E27FC236}">
                <a16:creationId xmlns:a16="http://schemas.microsoft.com/office/drawing/2014/main" id="{70A2E5BF-9DFB-4F2C-88A3-C061BC2B47D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791534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NLY | DO NOT USE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pter">
            <a:extLst>
              <a:ext uri="{FF2B5EF4-FFF2-40B4-BE49-F238E27FC236}">
                <a16:creationId xmlns:a16="http://schemas.microsoft.com/office/drawing/2014/main" id="{DAE42398-E9F4-4227-9445-73ACC18738F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79425" y="403200"/>
            <a:ext cx="7164000" cy="216025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D88A8ACA-2FB1-45F4-B8E9-F055E73F7ED8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Slide Number Placeholder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9" name="Text Image Area" hidden="1"/>
          <p:cNvSpPr/>
          <p:nvPr userDrawn="1">
            <p:custDataLst>
              <p:tags r:id="rId1"/>
            </p:custDataLst>
          </p:nvPr>
        </p:nvSpPr>
        <p:spPr bwMode="gray">
          <a:xfrm>
            <a:off x="0" y="1288386"/>
            <a:ext cx="12192000" cy="5580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2" name="White Area Logo" hidden="1">
            <a:extLst>
              <a:ext uri="{FF2B5EF4-FFF2-40B4-BE49-F238E27FC236}">
                <a16:creationId xmlns:a16="http://schemas.microsoft.com/office/drawing/2014/main" id="{6192CD53-FB56-4475-97BF-DC36F202953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632836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Blume enthält.&#10;&#10;Automatisch generierte Beschreibung">
            <a:extLst>
              <a:ext uri="{FF2B5EF4-FFF2-40B4-BE49-F238E27FC236}">
                <a16:creationId xmlns:a16="http://schemas.microsoft.com/office/drawing/2014/main" id="{64D39CA2-7241-4FA8-9455-E5D6774D0A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6" b="39456"/>
          <a:stretch/>
        </p:blipFill>
        <p:spPr>
          <a:xfrm>
            <a:off x="1844351" y="2881360"/>
            <a:ext cx="8503298" cy="1267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2994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Slogan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5C136412-AAF7-4148-A3EA-0470DE177A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2644239" y="3044151"/>
            <a:ext cx="6903522" cy="769698"/>
          </a:xfrm>
          <a:prstGeom prst="rect">
            <a:avLst/>
          </a:prstGeom>
        </p:spPr>
      </p:pic>
      <p:pic>
        <p:nvPicPr>
          <p:cNvPr id="4" name="Grafik 3" descr="Ein Bild, das Blume enthält.&#10;&#10;Automatisch generierte Beschreibung">
            <a:extLst>
              <a:ext uri="{FF2B5EF4-FFF2-40B4-BE49-F238E27FC236}">
                <a16:creationId xmlns:a16="http://schemas.microsoft.com/office/drawing/2014/main" id="{A229705F-CCF9-4429-BABD-3AC17D603F8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6" b="39456"/>
          <a:stretch/>
        </p:blipFill>
        <p:spPr>
          <a:xfrm>
            <a:off x="1844351" y="2881360"/>
            <a:ext cx="8503298" cy="1267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821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xit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3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hapter">
            <a:extLst>
              <a:ext uri="{FF2B5EF4-FFF2-40B4-BE49-F238E27FC236}">
                <a16:creationId xmlns:a16="http://schemas.microsoft.com/office/drawing/2014/main" id="{6D64FFEB-661E-4ABF-80B8-2EBB565E49F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6" name="Content Placeholder">
            <a:extLst>
              <a:ext uri="{FF2B5EF4-FFF2-40B4-BE49-F238E27FC236}">
                <a16:creationId xmlns:a16="http://schemas.microsoft.com/office/drawing/2014/main" id="{FF4308F2-09F5-4F8D-BDB8-27F49E9AA2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479425" y="1628775"/>
            <a:ext cx="11233150" cy="4679950"/>
          </a:xfrm>
        </p:spPr>
        <p:txBody>
          <a:bodyPr/>
          <a:lstStyle>
            <a:lvl1pPr>
              <a:defRPr/>
            </a:lvl1pPr>
            <a:lvl2pPr>
              <a:buClr>
                <a:srgbClr val="006E5D"/>
              </a:buCl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6B501667-622E-433B-99CA-610B83FAEAD3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10" name="Text Image Area" hidden="1">
            <a:extLst>
              <a:ext uri="{FF2B5EF4-FFF2-40B4-BE49-F238E27FC236}">
                <a16:creationId xmlns:a16="http://schemas.microsoft.com/office/drawing/2014/main" id="{376349E2-457D-4EEB-957E-197C0F7F779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3" name="White Area Logo" hidden="1">
            <a:extLst>
              <a:ext uri="{FF2B5EF4-FFF2-40B4-BE49-F238E27FC236}">
                <a16:creationId xmlns:a16="http://schemas.microsoft.com/office/drawing/2014/main" id="{D826ACE7-4702-44A9-A5E6-58886EA7AEB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4658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hapter">
            <a:extLst>
              <a:ext uri="{FF2B5EF4-FFF2-40B4-BE49-F238E27FC236}">
                <a16:creationId xmlns:a16="http://schemas.microsoft.com/office/drawing/2014/main" id="{7480F695-072D-4A2D-A614-53D1484EE59C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0" name="Content Placeholder Left">
            <a:extLst>
              <a:ext uri="{FF2B5EF4-FFF2-40B4-BE49-F238E27FC236}">
                <a16:creationId xmlns:a16="http://schemas.microsoft.com/office/drawing/2014/main" id="{515E1E56-D0EE-4000-ADE0-D2A5DF470A9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628800"/>
            <a:ext cx="5400551" cy="4679943"/>
          </a:xfrm>
        </p:spPr>
        <p:txBody>
          <a:bodyPr/>
          <a:lstStyle>
            <a:lvl1pPr>
              <a:defRPr/>
            </a:lvl1pPr>
            <a:lvl2pPr>
              <a:buClr>
                <a:srgbClr val="006E5D"/>
              </a:buCl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D6416931-E5E2-470D-A4A1-2D651D60E90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312024" y="1628800"/>
            <a:ext cx="5400551" cy="4680050"/>
          </a:xfrm>
        </p:spPr>
        <p:txBody>
          <a:bodyPr/>
          <a:lstStyle>
            <a:lvl1pPr>
              <a:defRPr/>
            </a:lvl1pPr>
            <a:lvl2pPr>
              <a:buClr>
                <a:srgbClr val="006E5D"/>
              </a:buCl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08A0C29E-EED0-46D9-823A-64F3C77D3A8F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15" name="Text Image Area" hidden="1">
            <a:extLst>
              <a:ext uri="{FF2B5EF4-FFF2-40B4-BE49-F238E27FC236}">
                <a16:creationId xmlns:a16="http://schemas.microsoft.com/office/drawing/2014/main" id="{9CCBF4F7-3C50-49FE-8295-5FCA1A7D4AB4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1" name="White Area Logo" hidden="1">
            <a:extLst>
              <a:ext uri="{FF2B5EF4-FFF2-40B4-BE49-F238E27FC236}">
                <a16:creationId xmlns:a16="http://schemas.microsoft.com/office/drawing/2014/main" id="{AE730489-1DEC-4CA5-BAFB-D41332F793F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63957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hapter">
            <a:extLst>
              <a:ext uri="{FF2B5EF4-FFF2-40B4-BE49-F238E27FC236}">
                <a16:creationId xmlns:a16="http://schemas.microsoft.com/office/drawing/2014/main" id="{A4504A24-CB02-4C7D-AE28-9F0761D3042F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18ACCA9B-C9B1-4759-B76E-DF5BCE079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6" name="Content Placeholder Left">
            <a:extLst>
              <a:ext uri="{FF2B5EF4-FFF2-40B4-BE49-F238E27FC236}">
                <a16:creationId xmlns:a16="http://schemas.microsoft.com/office/drawing/2014/main" id="{827A835E-9F7E-4A78-8074-CA3D2DE356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628800"/>
            <a:ext cx="3456335" cy="46799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18" name="Content Placeholder Center">
            <a:extLst>
              <a:ext uri="{FF2B5EF4-FFF2-40B4-BE49-F238E27FC236}">
                <a16:creationId xmlns:a16="http://schemas.microsoft.com/office/drawing/2014/main" id="{B48F0E53-30EF-4992-8F5B-C1BF842AC08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367857" y="1628800"/>
            <a:ext cx="3456335" cy="46799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19" name="Content Placeholder Right">
            <a:extLst>
              <a:ext uri="{FF2B5EF4-FFF2-40B4-BE49-F238E27FC236}">
                <a16:creationId xmlns:a16="http://schemas.microsoft.com/office/drawing/2014/main" id="{0D014D8B-B810-41B6-80C9-F7330F53E95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8256240" y="1628800"/>
            <a:ext cx="3456335" cy="46799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2" name="Date Placeholder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3A8683C4-11B1-429D-A2FC-459F21B70841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14" name="Text Image Area" hidden="1">
            <a:extLst>
              <a:ext uri="{FF2B5EF4-FFF2-40B4-BE49-F238E27FC236}">
                <a16:creationId xmlns:a16="http://schemas.microsoft.com/office/drawing/2014/main" id="{49215CBF-CA8B-459A-9866-6E75723ECC3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5" name="White Area Logo" hidden="1">
            <a:extLst>
              <a:ext uri="{FF2B5EF4-FFF2-40B4-BE49-F238E27FC236}">
                <a16:creationId xmlns:a16="http://schemas.microsoft.com/office/drawing/2014/main" id="{F0ACF004-EC43-48FA-98D3-F8CE9971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11293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hapter">
            <a:extLst>
              <a:ext uri="{FF2B5EF4-FFF2-40B4-BE49-F238E27FC236}">
                <a16:creationId xmlns:a16="http://schemas.microsoft.com/office/drawing/2014/main" id="{7480F695-072D-4A2D-A614-53D1484EE59C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0" name="Content Placeholder Top Left">
            <a:extLst>
              <a:ext uri="{FF2B5EF4-FFF2-40B4-BE49-F238E27FC236}">
                <a16:creationId xmlns:a16="http://schemas.microsoft.com/office/drawing/2014/main" id="{515E1E56-D0EE-4000-ADE0-D2A5DF470A9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628800"/>
            <a:ext cx="5400551" cy="2232248"/>
          </a:xfrm>
        </p:spPr>
        <p:txBody>
          <a:bodyPr/>
          <a:lstStyle>
            <a:lvl1pPr>
              <a:defRPr/>
            </a:lvl1pPr>
            <a:lvl2pPr>
              <a:buClr>
                <a:srgbClr val="006E5D"/>
              </a:buCl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12" name="Content Placeholder Top Right">
            <a:extLst>
              <a:ext uri="{FF2B5EF4-FFF2-40B4-BE49-F238E27FC236}">
                <a16:creationId xmlns:a16="http://schemas.microsoft.com/office/drawing/2014/main" id="{D6416931-E5E2-470D-A4A1-2D651D60E90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312024" y="1628800"/>
            <a:ext cx="5400551" cy="2232248"/>
          </a:xfrm>
        </p:spPr>
        <p:txBody>
          <a:bodyPr/>
          <a:lstStyle>
            <a:lvl1pPr>
              <a:defRPr/>
            </a:lvl1pPr>
            <a:lvl2pPr>
              <a:buClr>
                <a:srgbClr val="006E5D"/>
              </a:buCl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7" name="Content Placeholder Bottom Left"/>
          <p:cNvSpPr>
            <a:spLocks noGrp="1"/>
          </p:cNvSpPr>
          <p:nvPr>
            <p:ph sz="quarter" idx="19" hasCustomPrompt="1"/>
          </p:nvPr>
        </p:nvSpPr>
        <p:spPr>
          <a:xfrm>
            <a:off x="479425" y="4076602"/>
            <a:ext cx="5400675" cy="223224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9" name="Content Placeholder Bottom Right"/>
          <p:cNvSpPr>
            <a:spLocks noGrp="1"/>
          </p:cNvSpPr>
          <p:nvPr>
            <p:ph sz="quarter" idx="20" hasCustomPrompt="1"/>
          </p:nvPr>
        </p:nvSpPr>
        <p:spPr>
          <a:xfrm>
            <a:off x="6312024" y="4076700"/>
            <a:ext cx="5400551" cy="223224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9A4F7071-5312-4DD0-B10C-0F83036D7DBF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15" name="Text Image Area" hidden="1">
            <a:extLst>
              <a:ext uri="{FF2B5EF4-FFF2-40B4-BE49-F238E27FC236}">
                <a16:creationId xmlns:a16="http://schemas.microsoft.com/office/drawing/2014/main" id="{9CCBF4F7-3C50-49FE-8295-5FCA1A7D4AB4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1" name="White Area Logo" hidden="1">
            <a:extLst>
              <a:ext uri="{FF2B5EF4-FFF2-40B4-BE49-F238E27FC236}">
                <a16:creationId xmlns:a16="http://schemas.microsoft.com/office/drawing/2014/main" id="{AE730489-1DEC-4CA5-BAFB-D41332F793F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98362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Grey Box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pter">
            <a:extLst>
              <a:ext uri="{FF2B5EF4-FFF2-40B4-BE49-F238E27FC236}">
                <a16:creationId xmlns:a16="http://schemas.microsoft.com/office/drawing/2014/main" id="{810D668D-1A02-4B26-B0BC-88299D728FB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5" name="Grey Rectangle">
            <a:extLst>
              <a:ext uri="{FF2B5EF4-FFF2-40B4-BE49-F238E27FC236}">
                <a16:creationId xmlns:a16="http://schemas.microsoft.com/office/drawing/2014/main" id="{02EE3BEB-7F7C-417B-BDB5-3AEACA8B78E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flipH="1">
            <a:off x="-23688" y="1340767"/>
            <a:ext cx="8928000" cy="4967957"/>
          </a:xfrm>
          <a:prstGeom prst="rect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White Rectangle">
            <a:extLst>
              <a:ext uri="{FF2B5EF4-FFF2-40B4-BE49-F238E27FC236}">
                <a16:creationId xmlns:a16="http://schemas.microsoft.com/office/drawing/2014/main" id="{9B9AD2B1-578A-4211-9541-BA4E9EE2104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334961" y="1484313"/>
            <a:ext cx="8424863" cy="468099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Content Placeholder Left"/>
          <p:cNvSpPr>
            <a:spLocks noGrp="1"/>
          </p:cNvSpPr>
          <p:nvPr>
            <p:ph sz="quarter" idx="17" hasCustomPrompt="1"/>
          </p:nvPr>
        </p:nvSpPr>
        <p:spPr bwMode="gray">
          <a:xfrm>
            <a:off x="479376" y="1628675"/>
            <a:ext cx="8131224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11" name="Content Placeholder Right">
            <a:extLst>
              <a:ext uri="{FF2B5EF4-FFF2-40B4-BE49-F238E27FC236}">
                <a16:creationId xmlns:a16="http://schemas.microsoft.com/office/drawing/2014/main" id="{59CDA235-7A85-4201-984D-3DF266BEC8C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9192816" y="1628676"/>
            <a:ext cx="2519760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AF9C4226-D5E3-4B1E-8D46-637F41322B6D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16" name="Text Image Area" hidden="1">
            <a:extLst>
              <a:ext uri="{FF2B5EF4-FFF2-40B4-BE49-F238E27FC236}">
                <a16:creationId xmlns:a16="http://schemas.microsoft.com/office/drawing/2014/main" id="{9C06A4EA-2DF7-43D0-8D10-629173B18994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4" name="White Area Logo" hidden="1">
            <a:extLst>
              <a:ext uri="{FF2B5EF4-FFF2-40B4-BE49-F238E27FC236}">
                <a16:creationId xmlns:a16="http://schemas.microsoft.com/office/drawing/2014/main" id="{94E138D6-0483-4648-A8DC-725118814EF6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678387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7" orient="horz" pos="1026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Grey Box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pter">
            <a:extLst>
              <a:ext uri="{FF2B5EF4-FFF2-40B4-BE49-F238E27FC236}">
                <a16:creationId xmlns:a16="http://schemas.microsoft.com/office/drawing/2014/main" id="{8A2B0321-FEDA-454F-893C-A87E6FCBB83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7" name="Content Placeholder Left">
            <a:extLst>
              <a:ext uri="{FF2B5EF4-FFF2-40B4-BE49-F238E27FC236}">
                <a16:creationId xmlns:a16="http://schemas.microsoft.com/office/drawing/2014/main" id="{CE626908-E1AB-4CFF-B589-18F14E8E972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4" y="1628676"/>
            <a:ext cx="2520231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5" name="Grey Rectangle">
            <a:extLst>
              <a:ext uri="{FF2B5EF4-FFF2-40B4-BE49-F238E27FC236}">
                <a16:creationId xmlns:a16="http://schemas.microsoft.com/office/drawing/2014/main" id="{02EE3BEB-7F7C-417B-BDB5-3AEACA8B78E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flipH="1">
            <a:off x="3284480" y="1340767"/>
            <a:ext cx="8910000" cy="4967957"/>
          </a:xfrm>
          <a:prstGeom prst="rect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White Rectangle">
            <a:extLst>
              <a:ext uri="{FF2B5EF4-FFF2-40B4-BE49-F238E27FC236}">
                <a16:creationId xmlns:a16="http://schemas.microsoft.com/office/drawing/2014/main" id="{9B9AD2B1-578A-4211-9541-BA4E9EE2104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3432175" y="1484313"/>
            <a:ext cx="8424863" cy="468099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Content Placeholder Right"/>
          <p:cNvSpPr>
            <a:spLocks noGrp="1"/>
          </p:cNvSpPr>
          <p:nvPr>
            <p:ph sz="quarter" idx="17" hasCustomPrompt="1"/>
          </p:nvPr>
        </p:nvSpPr>
        <p:spPr bwMode="gray">
          <a:xfrm>
            <a:off x="3581400" y="1628675"/>
            <a:ext cx="8131224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6BD9AAFC-B561-447C-8F22-53F059F2C200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4" name="Slide Number Placeholder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16" name="Text Image Area" hidden="1">
            <a:extLst>
              <a:ext uri="{FF2B5EF4-FFF2-40B4-BE49-F238E27FC236}">
                <a16:creationId xmlns:a16="http://schemas.microsoft.com/office/drawing/2014/main" id="{C11329F0-0CA9-4E24-8198-7D9BA881266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7" name="White Area Logo" hidden="1">
            <a:extLst>
              <a:ext uri="{FF2B5EF4-FFF2-40B4-BE49-F238E27FC236}">
                <a16:creationId xmlns:a16="http://schemas.microsoft.com/office/drawing/2014/main" id="{E966BD5E-1110-43FD-A403-8EC4621929D5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36455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Grey Box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pter">
            <a:extLst>
              <a:ext uri="{FF2B5EF4-FFF2-40B4-BE49-F238E27FC236}">
                <a16:creationId xmlns:a16="http://schemas.microsoft.com/office/drawing/2014/main" id="{8E7CD466-AB34-46C4-87D4-B566740341E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5" name="Grey Rectangle">
            <a:extLst>
              <a:ext uri="{FF2B5EF4-FFF2-40B4-BE49-F238E27FC236}">
                <a16:creationId xmlns:a16="http://schemas.microsoft.com/office/drawing/2014/main" id="{02EE3BEB-7F7C-417B-BDB5-3AEACA8B78E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flipH="1">
            <a:off x="-23688" y="1340767"/>
            <a:ext cx="6048251" cy="4967957"/>
          </a:xfrm>
          <a:prstGeom prst="rect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White Rectangle">
            <a:extLst>
              <a:ext uri="{FF2B5EF4-FFF2-40B4-BE49-F238E27FC236}">
                <a16:creationId xmlns:a16="http://schemas.microsoft.com/office/drawing/2014/main" id="{9B9AD2B1-578A-4211-9541-BA4E9EE2104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334961" y="1484313"/>
            <a:ext cx="5545139" cy="468099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Content Placeholder Left"/>
          <p:cNvSpPr>
            <a:spLocks noGrp="1"/>
          </p:cNvSpPr>
          <p:nvPr>
            <p:ph sz="quarter" idx="17" hasCustomPrompt="1"/>
          </p:nvPr>
        </p:nvSpPr>
        <p:spPr bwMode="gray">
          <a:xfrm>
            <a:off x="479376" y="1628675"/>
            <a:ext cx="5235624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11" name="Content Placeholder Right">
            <a:extLst>
              <a:ext uri="{FF2B5EF4-FFF2-40B4-BE49-F238E27FC236}">
                <a16:creationId xmlns:a16="http://schemas.microsoft.com/office/drawing/2014/main" id="{59CDA235-7A85-4201-984D-3DF266BEC8C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6311900" y="1628676"/>
            <a:ext cx="5400676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C63980CD-A0BA-4726-A8D4-311F8A2C088F}" type="datetime1">
              <a:rPr lang="en-US"/>
              <a:pPr/>
              <a:t>2/7/2024</a:t>
            </a:fld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r.›</a:t>
            </a:fld>
            <a:endParaRPr lang="en-US" dirty="0"/>
          </a:p>
        </p:txBody>
      </p:sp>
      <p:sp>
        <p:nvSpPr>
          <p:cNvPr id="16" name="Text Image Area" hidden="1">
            <a:extLst>
              <a:ext uri="{FF2B5EF4-FFF2-40B4-BE49-F238E27FC236}">
                <a16:creationId xmlns:a16="http://schemas.microsoft.com/office/drawing/2014/main" id="{7FB0123E-DD69-46B9-B0AE-8C4DEA28652E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4" name="White Area Logo" hidden="1">
            <a:extLst>
              <a:ext uri="{FF2B5EF4-FFF2-40B4-BE49-F238E27FC236}">
                <a16:creationId xmlns:a16="http://schemas.microsoft.com/office/drawing/2014/main" id="{E5750C36-EC33-4FB3-B7BD-35D9417369C4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0435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33" Type="http://schemas.openxmlformats.org/officeDocument/2006/relationships/tags" Target="../tags/tag10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tags" Target="../tags/tag9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5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tags" Target="../tags/tag7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81054ED-F1F1-438D-A9B0-EB546F746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54768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4" imgW="359" imgH="360" progId="TCLayout.ActiveDocument.1">
                  <p:embed/>
                </p:oleObj>
              </mc:Choice>
              <mc:Fallback>
                <p:oleObj name="think-cell Folie" r:id="rId34" imgW="359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81054ED-F1F1-438D-A9B0-EB546F746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9B6EF32-BB33-4644-8BAB-B4169B304338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E3E3E3"/>
          </a:solidFill>
          <a:ln w="6350">
            <a:solidFill>
              <a:srgbClr val="E3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altLang="zh-CN" sz="1800" b="1" i="0" u="none" baseline="0" dirty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8" name="Title Placeholder"/>
          <p:cNvSpPr>
            <a:spLocks noGrp="1"/>
          </p:cNvSpPr>
          <p:nvPr>
            <p:ph type="title"/>
          </p:nvPr>
        </p:nvSpPr>
        <p:spPr bwMode="gray">
          <a:xfrm>
            <a:off x="479376" y="692752"/>
            <a:ext cx="8424000" cy="576008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 altLang="zh-CN" dirty="0"/>
              <a:t>Click </a:t>
            </a:r>
            <a:r>
              <a:rPr lang="de-DE" altLang="zh-CN" dirty="0" err="1"/>
              <a:t>to</a:t>
            </a:r>
            <a:r>
              <a:rPr lang="de-DE" altLang="zh-CN" dirty="0"/>
              <a:t> </a:t>
            </a:r>
            <a:r>
              <a:rPr lang="de-DE" altLang="zh-CN" dirty="0" err="1"/>
              <a:t>edit</a:t>
            </a:r>
            <a:r>
              <a:rPr lang="de-DE" altLang="zh-CN" dirty="0"/>
              <a:t> title</a:t>
            </a:r>
          </a:p>
        </p:txBody>
      </p:sp>
      <p:sp>
        <p:nvSpPr>
          <p:cNvPr id="3" name="Text Placeholde">
            <a:extLst>
              <a:ext uri="{FF2B5EF4-FFF2-40B4-BE49-F238E27FC236}">
                <a16:creationId xmlns:a16="http://schemas.microsoft.com/office/drawing/2014/main" id="{BE3325E8-5D13-4633-A1AC-0F9AE722AC8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425" y="1628775"/>
            <a:ext cx="11233101" cy="4679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altLang="zh-CN" dirty="0"/>
              <a:t>Mastertextformat bearbeiten</a:t>
            </a:r>
          </a:p>
          <a:p>
            <a:pPr lvl="1"/>
            <a:r>
              <a:rPr lang="de-DE" altLang="zh-CN" dirty="0"/>
              <a:t>Zweite Ebene</a:t>
            </a:r>
          </a:p>
          <a:p>
            <a:pPr lvl="2"/>
            <a:r>
              <a:rPr lang="de-DE" altLang="zh-CN" dirty="0"/>
              <a:t>Dritte Ebene</a:t>
            </a:r>
          </a:p>
          <a:p>
            <a:pPr lvl="3"/>
            <a:r>
              <a:rPr lang="de-DE" altLang="zh-CN" dirty="0"/>
              <a:t>Vierte Ebene</a:t>
            </a:r>
          </a:p>
          <a:p>
            <a:pPr lvl="4"/>
            <a:r>
              <a:rPr lang="de-DE" altLang="zh-CN" dirty="0"/>
              <a:t>Fünfte Ebene</a:t>
            </a:r>
          </a:p>
        </p:txBody>
      </p:sp>
      <p:pic>
        <p:nvPicPr>
          <p:cNvPr id="64" name="Logo">
            <a:extLst>
              <a:ext uri="{FF2B5EF4-FFF2-40B4-BE49-F238E27FC236}">
                <a16:creationId xmlns:a16="http://schemas.microsoft.com/office/drawing/2014/main" id="{4A48A30F-148F-4B59-BDF8-CD6D3B232FD8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092526" y="477000"/>
            <a:ext cx="1620000" cy="180867"/>
          </a:xfrm>
          <a:prstGeom prst="rect">
            <a:avLst/>
          </a:prstGeom>
        </p:spPr>
      </p:pic>
      <p:sp>
        <p:nvSpPr>
          <p:cNvPr id="6" name="empower - DO NOT DELETE!!!">
            <a:extLst>
              <a:ext uri="{FF2B5EF4-FFF2-40B4-BE49-F238E27FC236}">
                <a16:creationId xmlns:a16="http://schemas.microsoft.com/office/drawing/2014/main" id="{7EA0EB00-4E17-41DD-8CC8-265931ED9BDF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altLang="zh-CN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00CCA7C-7368-4710-9822-2D86D40901CA}"/>
              </a:ext>
            </a:extLst>
          </p:cNvPr>
          <p:cNvCxnSpPr/>
          <p:nvPr userDrawn="1"/>
        </p:nvCxnSpPr>
        <p:spPr bwMode="gray">
          <a:xfrm>
            <a:off x="6168008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80E01C1-2439-401E-B582-FCAF11A7550A}"/>
              </a:ext>
            </a:extLst>
          </p:cNvPr>
          <p:cNvCxnSpPr/>
          <p:nvPr userDrawn="1"/>
        </p:nvCxnSpPr>
        <p:spPr bwMode="gray">
          <a:xfrm>
            <a:off x="6023992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7AFA0E7-F24B-45F5-828A-816C1CC552B7}"/>
              </a:ext>
            </a:extLst>
          </p:cNvPr>
          <p:cNvCxnSpPr/>
          <p:nvPr userDrawn="1"/>
        </p:nvCxnSpPr>
        <p:spPr bwMode="gray">
          <a:xfrm>
            <a:off x="4727848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500CE7-E8E0-480C-8B18-9593206B0309}"/>
              </a:ext>
            </a:extLst>
          </p:cNvPr>
          <p:cNvCxnSpPr/>
          <p:nvPr userDrawn="1"/>
        </p:nvCxnSpPr>
        <p:spPr bwMode="gray">
          <a:xfrm>
            <a:off x="4583832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5509979-E947-47A6-9F54-31F5114A0C6B}"/>
              </a:ext>
            </a:extLst>
          </p:cNvPr>
          <p:cNvCxnSpPr/>
          <p:nvPr userDrawn="1"/>
        </p:nvCxnSpPr>
        <p:spPr bwMode="gray">
          <a:xfrm>
            <a:off x="7464152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3D30FDE-1C58-4375-ABC3-F45DDF817730}"/>
              </a:ext>
            </a:extLst>
          </p:cNvPr>
          <p:cNvCxnSpPr/>
          <p:nvPr userDrawn="1"/>
        </p:nvCxnSpPr>
        <p:spPr bwMode="gray">
          <a:xfrm>
            <a:off x="7608168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5BD8019-71B7-46A0-9122-CCC798C56431}"/>
              </a:ext>
            </a:extLst>
          </p:cNvPr>
          <p:cNvCxnSpPr/>
          <p:nvPr userDrawn="1"/>
        </p:nvCxnSpPr>
        <p:spPr bwMode="gray">
          <a:xfrm>
            <a:off x="3287688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BE7AAF7-DF0B-429F-8295-82B05E77D1A2}"/>
              </a:ext>
            </a:extLst>
          </p:cNvPr>
          <p:cNvCxnSpPr/>
          <p:nvPr userDrawn="1"/>
        </p:nvCxnSpPr>
        <p:spPr bwMode="gray">
          <a:xfrm>
            <a:off x="3143672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FE8B336-7FC5-452D-972B-03A3FDD062D8}"/>
              </a:ext>
            </a:extLst>
          </p:cNvPr>
          <p:cNvCxnSpPr/>
          <p:nvPr userDrawn="1"/>
        </p:nvCxnSpPr>
        <p:spPr bwMode="gray">
          <a:xfrm>
            <a:off x="1847528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42DA96F-C391-4975-AF71-D40DB2257A90}"/>
              </a:ext>
            </a:extLst>
          </p:cNvPr>
          <p:cNvCxnSpPr/>
          <p:nvPr userDrawn="1"/>
        </p:nvCxnSpPr>
        <p:spPr bwMode="gray">
          <a:xfrm>
            <a:off x="1703512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7314915-1D51-4783-A653-01F9F05849B3}"/>
              </a:ext>
            </a:extLst>
          </p:cNvPr>
          <p:cNvCxnSpPr/>
          <p:nvPr userDrawn="1"/>
        </p:nvCxnSpPr>
        <p:spPr bwMode="gray">
          <a:xfrm>
            <a:off x="335360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DD1ADEA-3E97-4B37-AD88-4F70BBCAC871}"/>
              </a:ext>
            </a:extLst>
          </p:cNvPr>
          <p:cNvCxnSpPr/>
          <p:nvPr userDrawn="1"/>
        </p:nvCxnSpPr>
        <p:spPr bwMode="gray">
          <a:xfrm>
            <a:off x="8904312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B8B9026-B86A-47BB-8C06-2423BB7E8251}"/>
              </a:ext>
            </a:extLst>
          </p:cNvPr>
          <p:cNvCxnSpPr/>
          <p:nvPr userDrawn="1"/>
        </p:nvCxnSpPr>
        <p:spPr bwMode="gray">
          <a:xfrm>
            <a:off x="9048328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07832BD-6FCB-449E-8BDD-405178D1E3CF}"/>
              </a:ext>
            </a:extLst>
          </p:cNvPr>
          <p:cNvCxnSpPr/>
          <p:nvPr userDrawn="1"/>
        </p:nvCxnSpPr>
        <p:spPr bwMode="gray">
          <a:xfrm>
            <a:off x="10344472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177AD21-DFC1-47E3-90B9-2254987F3DC7}"/>
              </a:ext>
            </a:extLst>
          </p:cNvPr>
          <p:cNvCxnSpPr/>
          <p:nvPr userDrawn="1"/>
        </p:nvCxnSpPr>
        <p:spPr bwMode="gray">
          <a:xfrm>
            <a:off x="10488488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EDACD2E-8435-4F3C-86CF-1CA9DD785BD9}"/>
              </a:ext>
            </a:extLst>
          </p:cNvPr>
          <p:cNvCxnSpPr/>
          <p:nvPr userDrawn="1"/>
        </p:nvCxnSpPr>
        <p:spPr bwMode="gray">
          <a:xfrm>
            <a:off x="11856640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7ED955-08A3-4B3D-AF19-3937132671FC}"/>
              </a:ext>
            </a:extLst>
          </p:cNvPr>
          <p:cNvCxnSpPr/>
          <p:nvPr userDrawn="1"/>
        </p:nvCxnSpPr>
        <p:spPr bwMode="gray">
          <a:xfrm>
            <a:off x="-240704" y="1340768"/>
            <a:ext cx="9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7E5319B-576B-4A7B-AEF8-08D10C6B0769}"/>
              </a:ext>
            </a:extLst>
          </p:cNvPr>
          <p:cNvCxnSpPr/>
          <p:nvPr userDrawn="1"/>
        </p:nvCxnSpPr>
        <p:spPr bwMode="gray">
          <a:xfrm>
            <a:off x="-240704" y="6309320"/>
            <a:ext cx="9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4C48FF8B-0557-4FD1-8620-50A080A48453}"/>
              </a:ext>
            </a:extLst>
          </p:cNvPr>
          <p:cNvCxnSpPr/>
          <p:nvPr userDrawn="1"/>
        </p:nvCxnSpPr>
        <p:spPr bwMode="gray">
          <a:xfrm>
            <a:off x="-240704" y="1628800"/>
            <a:ext cx="9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6078B39-8D23-4242-ACB1-78D29DC0B0D0}"/>
              </a:ext>
            </a:extLst>
          </p:cNvPr>
          <p:cNvCxnSpPr/>
          <p:nvPr userDrawn="1"/>
        </p:nvCxnSpPr>
        <p:spPr bwMode="gray">
          <a:xfrm>
            <a:off x="6312024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C7619B7-0EAA-4D7B-82DC-3AD4C8291606}"/>
              </a:ext>
            </a:extLst>
          </p:cNvPr>
          <p:cNvCxnSpPr/>
          <p:nvPr userDrawn="1"/>
        </p:nvCxnSpPr>
        <p:spPr bwMode="gray">
          <a:xfrm>
            <a:off x="4871864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9030A0D-E516-446A-811E-D10B728D0F33}"/>
              </a:ext>
            </a:extLst>
          </p:cNvPr>
          <p:cNvCxnSpPr/>
          <p:nvPr userDrawn="1"/>
        </p:nvCxnSpPr>
        <p:spPr bwMode="gray">
          <a:xfrm>
            <a:off x="7752184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AB6ABF2-EFFB-4CE2-8CB0-CBDBE92C8DA9}"/>
              </a:ext>
            </a:extLst>
          </p:cNvPr>
          <p:cNvCxnSpPr/>
          <p:nvPr userDrawn="1"/>
        </p:nvCxnSpPr>
        <p:spPr bwMode="gray">
          <a:xfrm>
            <a:off x="3431704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AB10B74-3A0F-4D6B-8BC7-5A2C150AF60F}"/>
              </a:ext>
            </a:extLst>
          </p:cNvPr>
          <p:cNvCxnSpPr/>
          <p:nvPr userDrawn="1"/>
        </p:nvCxnSpPr>
        <p:spPr bwMode="gray">
          <a:xfrm>
            <a:off x="1991544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E5BD2BF-BFB8-4C4D-A095-176EECF83788}"/>
              </a:ext>
            </a:extLst>
          </p:cNvPr>
          <p:cNvCxnSpPr/>
          <p:nvPr userDrawn="1"/>
        </p:nvCxnSpPr>
        <p:spPr bwMode="gray">
          <a:xfrm>
            <a:off x="9192344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EF2680D-5108-4368-AF58-E7FDFEFC6B94}"/>
              </a:ext>
            </a:extLst>
          </p:cNvPr>
          <p:cNvCxnSpPr/>
          <p:nvPr userDrawn="1"/>
        </p:nvCxnSpPr>
        <p:spPr bwMode="gray">
          <a:xfrm>
            <a:off x="10632504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2573DA53-5984-4830-BBF7-9BBB8B8B4370}"/>
              </a:ext>
            </a:extLst>
          </p:cNvPr>
          <p:cNvCxnSpPr/>
          <p:nvPr userDrawn="1"/>
        </p:nvCxnSpPr>
        <p:spPr bwMode="gray">
          <a:xfrm>
            <a:off x="5879976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E4CDE23-0EE1-4118-BB95-6F78153FA8DA}"/>
              </a:ext>
            </a:extLst>
          </p:cNvPr>
          <p:cNvCxnSpPr/>
          <p:nvPr userDrawn="1"/>
        </p:nvCxnSpPr>
        <p:spPr bwMode="gray">
          <a:xfrm>
            <a:off x="4439816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BD98247-D51A-4D8E-90B4-083F85889BDD}"/>
              </a:ext>
            </a:extLst>
          </p:cNvPr>
          <p:cNvCxnSpPr/>
          <p:nvPr userDrawn="1"/>
        </p:nvCxnSpPr>
        <p:spPr bwMode="gray">
          <a:xfrm>
            <a:off x="7320136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DAF85A8-CFAA-4269-A8A5-BBF7AA6F5E3E}"/>
              </a:ext>
            </a:extLst>
          </p:cNvPr>
          <p:cNvCxnSpPr/>
          <p:nvPr userDrawn="1"/>
        </p:nvCxnSpPr>
        <p:spPr bwMode="gray">
          <a:xfrm>
            <a:off x="2999656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FB0F0A1-40F0-4593-9FF0-D16101388B10}"/>
              </a:ext>
            </a:extLst>
          </p:cNvPr>
          <p:cNvCxnSpPr/>
          <p:nvPr userDrawn="1"/>
        </p:nvCxnSpPr>
        <p:spPr bwMode="gray">
          <a:xfrm>
            <a:off x="1559496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5902581-8707-4A65-B37E-FB944EFD93BE}"/>
              </a:ext>
            </a:extLst>
          </p:cNvPr>
          <p:cNvCxnSpPr/>
          <p:nvPr userDrawn="1"/>
        </p:nvCxnSpPr>
        <p:spPr bwMode="gray">
          <a:xfrm>
            <a:off x="8760296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88E1B6AB-1932-4CC0-97FF-871E789F03BC}"/>
              </a:ext>
            </a:extLst>
          </p:cNvPr>
          <p:cNvCxnSpPr/>
          <p:nvPr userDrawn="1"/>
        </p:nvCxnSpPr>
        <p:spPr bwMode="gray">
          <a:xfrm>
            <a:off x="10200456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7C0AE624-4799-4D64-8F53-CAB400BB8F31}"/>
              </a:ext>
            </a:extLst>
          </p:cNvPr>
          <p:cNvCxnSpPr/>
          <p:nvPr userDrawn="1"/>
        </p:nvCxnSpPr>
        <p:spPr bwMode="gray">
          <a:xfrm>
            <a:off x="479376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9B434B9-6CA8-49D7-9A8B-3D6CF6B20C40}"/>
              </a:ext>
            </a:extLst>
          </p:cNvPr>
          <p:cNvCxnSpPr/>
          <p:nvPr userDrawn="1"/>
        </p:nvCxnSpPr>
        <p:spPr bwMode="gray">
          <a:xfrm>
            <a:off x="11712624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3CDDF9B-7F09-407C-9656-7445C8297825}"/>
              </a:ext>
            </a:extLst>
          </p:cNvPr>
          <p:cNvCxnSpPr/>
          <p:nvPr userDrawn="1"/>
        </p:nvCxnSpPr>
        <p:spPr bwMode="gray">
          <a:xfrm>
            <a:off x="-240704" y="1484784"/>
            <a:ext cx="9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D7C7F322-461A-4522-B667-A4A50BF1A1A0}"/>
              </a:ext>
            </a:extLst>
          </p:cNvPr>
          <p:cNvCxnSpPr/>
          <p:nvPr userDrawn="1"/>
        </p:nvCxnSpPr>
        <p:spPr bwMode="gray">
          <a:xfrm>
            <a:off x="-240704" y="6165304"/>
            <a:ext cx="9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A605C544-F4E9-4074-90A4-E09D2AE2DA70}"/>
              </a:ext>
            </a:extLst>
          </p:cNvPr>
          <p:cNvCxnSpPr/>
          <p:nvPr userDrawn="1"/>
        </p:nvCxnSpPr>
        <p:spPr bwMode="gray">
          <a:xfrm>
            <a:off x="-240704" y="6021288"/>
            <a:ext cx="9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Date Placeholder">
            <a:extLst>
              <a:ext uri="{FF2B5EF4-FFF2-40B4-BE49-F238E27FC236}">
                <a16:creationId xmlns:a16="http://schemas.microsoft.com/office/drawing/2014/main" id="{1BA4D341-05AB-4CF0-83B0-2FEA10A04C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79424" y="6525345"/>
            <a:ext cx="731520" cy="17999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de-DE" sz="900" baseline="0"/>
            </a:lvl1pPr>
          </a:lstStyle>
          <a:p>
            <a:fld id="{3CD733F0-AFC7-49A6-BC53-E42245A474DF}" type="datetime1">
              <a:rPr lang="de-DE" altLang="zh-CN"/>
              <a:pPr/>
              <a:t>07.02.2024</a:t>
            </a:fld>
            <a:endParaRPr lang="de-DE" altLang="zh-CN" dirty="0"/>
          </a:p>
        </p:txBody>
      </p:sp>
      <p:sp>
        <p:nvSpPr>
          <p:cNvPr id="31" name="Footer Placeholder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525344"/>
            <a:ext cx="7056248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defRPr sz="900" baseline="0">
                <a:solidFill>
                  <a:schemeClr val="tx1"/>
                </a:solidFill>
              </a:defRPr>
            </a:lvl1pPr>
            <a:lvl2pPr marL="0" indent="0">
              <a:defRPr sz="900"/>
            </a:lvl2pPr>
            <a:lvl3pPr marL="0" indent="0">
              <a:defRPr sz="900"/>
            </a:lvl3pPr>
            <a:lvl4pPr marL="0" indent="0">
              <a:defRPr sz="900"/>
            </a:lvl4pPr>
            <a:lvl5pPr marL="0" indent="0">
              <a:defRPr sz="900"/>
            </a:lvl5pPr>
            <a:lvl6pPr marL="0" indent="0">
              <a:defRPr sz="900"/>
            </a:lvl6pPr>
            <a:lvl7pPr marL="0" indent="0">
              <a:defRPr sz="900"/>
            </a:lvl7pPr>
            <a:lvl8pPr marL="0" indent="0">
              <a:defRPr sz="900"/>
            </a:lvl8pPr>
            <a:lvl9pPr marL="0" indent="0">
              <a:defRPr sz="900"/>
            </a:lvl9pPr>
          </a:lstStyle>
          <a:p>
            <a:endParaRPr lang="de-DE" altLang="zh-CN" dirty="0"/>
          </a:p>
        </p:txBody>
      </p:sp>
      <p:sp>
        <p:nvSpPr>
          <p:cNvPr id="32" name="Slide Number Placeholder"/>
          <p:cNvSpPr>
            <a:spLocks noGrp="1"/>
          </p:cNvSpPr>
          <p:nvPr>
            <p:ph type="sldNum" sz="quarter" idx="4"/>
          </p:nvPr>
        </p:nvSpPr>
        <p:spPr bwMode="gray">
          <a:xfrm>
            <a:off x="11352584" y="6525344"/>
            <a:ext cx="36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CCF10D83-73B2-4D20-BE53-AA27B2521160}" type="slidenum">
              <a:rPr lang="de-DE" altLang="zh-CN"/>
              <a:pPr/>
              <a:t>‹Nr.›</a:t>
            </a:fld>
            <a:endParaRPr lang="de-DE" altLang="zh-CN" dirty="0"/>
          </a:p>
        </p:txBody>
      </p:sp>
      <p:sp>
        <p:nvSpPr>
          <p:cNvPr id="66" name="Copyright German">
            <a:extLst>
              <a:ext uri="{FF2B5EF4-FFF2-40B4-BE49-F238E27FC236}">
                <a16:creationId xmlns:a16="http://schemas.microsoft.com/office/drawing/2014/main" id="{E222EFFF-BCCD-45FF-9CF1-89A754A53793}"/>
              </a:ext>
            </a:extLst>
          </p:cNvPr>
          <p:cNvSpPr txBox="1">
            <a:spLocks/>
          </p:cNvSpPr>
          <p:nvPr userDrawn="1">
            <p:custDataLst>
              <p:tags r:id="rId28"/>
            </p:custDataLst>
          </p:nvPr>
        </p:nvSpPr>
        <p:spPr bwMode="gray">
          <a:xfrm>
            <a:off x="8400256" y="6453337"/>
            <a:ext cx="2880271" cy="32698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ctr">
              <a:defRPr sz="70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de-DE" altLang="zh-CN" dirty="0"/>
              <a:t>Alle Rechte vorbehalten für Schaeffler Technologies AG &amp; Co. KG, insbesondere für den Fall einer Schutzrechtserteilung.</a:t>
            </a:r>
          </a:p>
        </p:txBody>
      </p:sp>
      <p:sp>
        <p:nvSpPr>
          <p:cNvPr id="68" name="Copyright English" hidden="1">
            <a:extLst>
              <a:ext uri="{FF2B5EF4-FFF2-40B4-BE49-F238E27FC236}">
                <a16:creationId xmlns:a16="http://schemas.microsoft.com/office/drawing/2014/main" id="{D74DA198-FB61-4CAB-9176-F7513B1C996F}"/>
              </a:ext>
            </a:extLst>
          </p:cNvPr>
          <p:cNvSpPr txBox="1">
            <a:spLocks/>
          </p:cNvSpPr>
          <p:nvPr userDrawn="1">
            <p:custDataLst>
              <p:tags r:id="rId29"/>
            </p:custDataLst>
          </p:nvPr>
        </p:nvSpPr>
        <p:spPr bwMode="gray">
          <a:xfrm>
            <a:off x="8400256" y="6453336"/>
            <a:ext cx="2880271" cy="32698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ctr">
              <a:defRPr sz="70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de-DE" altLang="zh-CN"/>
              <a:t>All rights reserved to Schaeffler Technologies AG &amp; Co. KG, in particular in case of grant of an IP right.</a:t>
            </a:r>
            <a:endParaRPr lang="de-DE" altLang="zh-CN" dirty="0"/>
          </a:p>
        </p:txBody>
      </p:sp>
      <p:sp>
        <p:nvSpPr>
          <p:cNvPr id="69" name="Copyright Portuguese" hidden="1">
            <a:extLst>
              <a:ext uri="{FF2B5EF4-FFF2-40B4-BE49-F238E27FC236}">
                <a16:creationId xmlns:a16="http://schemas.microsoft.com/office/drawing/2014/main" id="{2B2D4DF0-645A-466D-BB77-BC809DCA63B5}"/>
              </a:ext>
            </a:extLst>
          </p:cNvPr>
          <p:cNvSpPr txBox="1">
            <a:spLocks/>
          </p:cNvSpPr>
          <p:nvPr userDrawn="1">
            <p:custDataLst>
              <p:tags r:id="rId30"/>
            </p:custDataLst>
          </p:nvPr>
        </p:nvSpPr>
        <p:spPr bwMode="gray">
          <a:xfrm>
            <a:off x="8400256" y="6453336"/>
            <a:ext cx="2880271" cy="32698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ctr">
              <a:defRPr sz="70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de-DE" altLang="zh-CN" dirty="0"/>
          </a:p>
        </p:txBody>
      </p:sp>
      <p:sp>
        <p:nvSpPr>
          <p:cNvPr id="70" name="Copyright Chinese" hidden="1">
            <a:extLst>
              <a:ext uri="{FF2B5EF4-FFF2-40B4-BE49-F238E27FC236}">
                <a16:creationId xmlns:a16="http://schemas.microsoft.com/office/drawing/2014/main" id="{0E436477-2423-4939-999C-2ED48762CAD2}"/>
              </a:ext>
            </a:extLst>
          </p:cNvPr>
          <p:cNvSpPr txBox="1">
            <a:spLocks/>
          </p:cNvSpPr>
          <p:nvPr userDrawn="1">
            <p:custDataLst>
              <p:tags r:id="rId31"/>
            </p:custDataLst>
          </p:nvPr>
        </p:nvSpPr>
        <p:spPr bwMode="gray">
          <a:xfrm>
            <a:off x="8400256" y="6453336"/>
            <a:ext cx="2880271" cy="32698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ctr">
              <a:defRPr sz="70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de-DE" altLang="zh-CN" dirty="0"/>
          </a:p>
        </p:txBody>
      </p:sp>
      <p:sp>
        <p:nvSpPr>
          <p:cNvPr id="71" name="Copyright Spanish" hidden="1">
            <a:extLst>
              <a:ext uri="{FF2B5EF4-FFF2-40B4-BE49-F238E27FC236}">
                <a16:creationId xmlns:a16="http://schemas.microsoft.com/office/drawing/2014/main" id="{8119FBA1-B955-40E0-8638-CF0E508A2AB6}"/>
              </a:ext>
            </a:extLst>
          </p:cNvPr>
          <p:cNvSpPr txBox="1">
            <a:spLocks/>
          </p:cNvSpPr>
          <p:nvPr userDrawn="1">
            <p:custDataLst>
              <p:tags r:id="rId32"/>
            </p:custDataLst>
          </p:nvPr>
        </p:nvSpPr>
        <p:spPr bwMode="gray">
          <a:xfrm>
            <a:off x="8400256" y="6453336"/>
            <a:ext cx="2880271" cy="32698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ctr">
              <a:defRPr sz="70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de-DE" altLang="zh-CN" dirty="0"/>
          </a:p>
        </p:txBody>
      </p:sp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1D64BCDF-B9F6-4D79-9C84-99610B98BACB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rgbClr val="E3E3E3"/>
          </a:solidFill>
          <a:ln w="6350">
            <a:solidFill>
              <a:srgbClr val="E3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altLang="zh-CN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9098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97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9" r:id="rId16"/>
    <p:sldLayoutId id="2147483800" r:id="rId17"/>
    <p:sldLayoutId id="2147483796" r:id="rId18"/>
    <p:sldLayoutId id="2147483798" r:id="rId19"/>
    <p:sldLayoutId id="2147483795" r:id="rId20"/>
    <p:sldLayoutId id="2147483793" r:id="rId21"/>
    <p:sldLayoutId id="2147483801" r:id="rId22"/>
    <p:sldLayoutId id="2147483802" r:id="rId2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6E5D"/>
        </a:buClr>
        <a:buSzPct val="100000"/>
        <a:buFont typeface="Calibri" panose="020F050202020403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56616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496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496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39496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539496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539496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539496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>
          <p15:clr>
            <a:srgbClr val="F26B43"/>
          </p15:clr>
        </p15:guide>
        <p15:guide id="9" pos="7378">
          <p15:clr>
            <a:srgbClr val="F26B43"/>
          </p15:clr>
        </p15:guide>
        <p15:guide id="22" orient="horz" pos="3974">
          <p15:clr>
            <a:srgbClr val="F26B43"/>
          </p15:clr>
        </p15:guide>
        <p15:guide id="24" orient="horz" pos="102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slide" Target="slide5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slide" Target="slide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90.xml"/><Relationship Id="rId10" Type="http://schemas.openxmlformats.org/officeDocument/2006/relationships/slideLayout" Target="../slideLayouts/slideLayout21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slide" Target="slide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slide" Target="slide5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slide" Target="slide2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99.xml"/><Relationship Id="rId10" Type="http://schemas.openxmlformats.org/officeDocument/2006/relationships/slideLayout" Target="../slideLayouts/slideLayout21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" Target="slide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slide" Target="slide5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slide" Target="slide2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108.xml"/><Relationship Id="rId10" Type="http://schemas.openxmlformats.org/officeDocument/2006/relationships/slideLayout" Target="../slideLayouts/slideLayout21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slide" Target="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794D44A-9564-4736-8AB4-DA55774328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7250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794D44A-9564-4736-8AB4-DA55774328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2C8A9E0-C733-42E7-9B32-376CCBDFFBB6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E3E3E3"/>
          </a:solidFill>
          <a:ln w="6350">
            <a:solidFill>
              <a:srgbClr val="E3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altLang="zh-CN" sz="3200" b="1" u="none" dirty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altLang="zh-CN" dirty="0"/>
              <a:t>Zwischenstand T2000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altLang="zh-CN" dirty="0"/>
              <a:t>Lars Richter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altLang="zh-CN" dirty="0"/>
          </a:p>
        </p:txBody>
      </p:sp>
    </p:spTree>
    <p:extLst>
      <p:ext uri="{BB962C8B-B14F-4D97-AF65-F5344CB8AC3E}">
        <p14:creationId xmlns:p14="http://schemas.microsoft.com/office/powerpoint/2010/main" val="23521915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090B8BD-014B-0C5B-AC28-CB64E1070E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6B134F52-1737-8426-0BDB-0E626E4D089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587440" y="1772816"/>
            <a:ext cx="10284600" cy="1440001"/>
            <a:chOff x="587440" y="1772816"/>
            <a:chExt cx="10284600" cy="1440001"/>
          </a:xfrm>
        </p:grpSpPr>
        <p:sp>
          <p:nvSpPr>
            <p:cNvPr id="2" name="MIO_AGENDA_ELEMENT_TITEL_1">
              <a:hlinkClick r:id="rId12" action="ppaction://hlinksldjump"/>
              <a:extLst>
                <a:ext uri="{FF2B5EF4-FFF2-40B4-BE49-F238E27FC236}">
                  <a16:creationId xmlns:a16="http://schemas.microsoft.com/office/drawing/2014/main" id="{05059EAB-CE71-435F-A603-EE4FA6670A53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1332040" y="1772816"/>
              <a:ext cx="9540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46800" rIns="0" bIns="4680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2000" b="1">
                  <a:solidFill>
                    <a:schemeClr val="dk1"/>
                  </a:solidFill>
                </a:rPr>
                <a:t>Thema</a:t>
              </a:r>
              <a:endParaRPr lang="en-US" sz="2000" b="1" dirty="0">
                <a:solidFill>
                  <a:schemeClr val="dk1"/>
                </a:solidFill>
              </a:endParaRPr>
            </a:p>
          </p:txBody>
        </p:sp>
        <p:sp>
          <p:nvSpPr>
            <p:cNvPr id="3" name="MIO_AGENDA_ELEMENT_ELEMENTNUMBER_1">
              <a:hlinkClick r:id="rId12" action="ppaction://hlinksldjump"/>
              <a:extLst>
                <a:ext uri="{FF2B5EF4-FFF2-40B4-BE49-F238E27FC236}">
                  <a16:creationId xmlns:a16="http://schemas.microsoft.com/office/drawing/2014/main" id="{12A87FAF-CF3F-4101-B67C-1C2D0B5833F7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587440" y="1772816"/>
              <a:ext cx="468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80000"/>
                </a:lnSpc>
              </a:pPr>
              <a:r>
                <a:rPr lang="en-US" sz="3600" b="1">
                  <a:solidFill>
                    <a:srgbClr val="CED5DA"/>
                  </a:solidFill>
                </a:rPr>
                <a:t>1</a:t>
              </a:r>
              <a:endParaRPr lang="en-US" sz="3600" b="1" dirty="0">
                <a:solidFill>
                  <a:srgbClr val="CED5DA"/>
                </a:solidFill>
              </a:endParaRPr>
            </a:p>
          </p:txBody>
        </p:sp>
        <p:sp>
          <p:nvSpPr>
            <p:cNvPr id="4" name="MIO_AGENDA_ELEMENT_TITEL_2">
              <a:hlinkClick r:id="rId13" action="ppaction://hlinksldjump"/>
              <a:extLst>
                <a:ext uri="{FF2B5EF4-FFF2-40B4-BE49-F238E27FC236}">
                  <a16:creationId xmlns:a16="http://schemas.microsoft.com/office/drawing/2014/main" id="{5E3761DE-E740-4A99-8BF2-28E390A36D16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332040" y="2312816"/>
              <a:ext cx="9540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46800" rIns="0" bIns="4680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2000">
                  <a:solidFill>
                    <a:schemeClr val="dk1"/>
                  </a:solidFill>
                </a:rPr>
                <a:t>Zwischenstand</a:t>
              </a:r>
              <a:endParaRPr lang="en-US" sz="2000" dirty="0">
                <a:solidFill>
                  <a:schemeClr val="dk1"/>
                </a:solidFill>
              </a:endParaRPr>
            </a:p>
          </p:txBody>
        </p:sp>
        <p:sp>
          <p:nvSpPr>
            <p:cNvPr id="5" name="MIO_AGENDA_ELEMENT_ELEMENTNUMBER_2">
              <a:hlinkClick r:id="rId13" action="ppaction://hlinksldjump"/>
              <a:extLst>
                <a:ext uri="{FF2B5EF4-FFF2-40B4-BE49-F238E27FC236}">
                  <a16:creationId xmlns:a16="http://schemas.microsoft.com/office/drawing/2014/main" id="{C06F1428-1891-4567-A0B3-101385EDFB86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587440" y="2312816"/>
              <a:ext cx="468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80000"/>
                </a:lnSpc>
              </a:pPr>
              <a:r>
                <a:rPr lang="en-US" sz="3600" b="1">
                  <a:solidFill>
                    <a:srgbClr val="CED5DA"/>
                  </a:solidFill>
                </a:rPr>
                <a:t>2</a:t>
              </a:r>
              <a:endParaRPr lang="en-US" sz="3600" b="1" dirty="0">
                <a:solidFill>
                  <a:srgbClr val="CED5DA"/>
                </a:solidFill>
              </a:endParaRPr>
            </a:p>
          </p:txBody>
        </p:sp>
        <p:sp>
          <p:nvSpPr>
            <p:cNvPr id="8" name="MIO_AGENDA_ELEMENT_TITEL_3">
              <a:hlinkClick r:id="rId14" action="ppaction://hlinksldjump"/>
              <a:extLst>
                <a:ext uri="{FF2B5EF4-FFF2-40B4-BE49-F238E27FC236}">
                  <a16:creationId xmlns:a16="http://schemas.microsoft.com/office/drawing/2014/main" id="{5E3761DE-E740-4A99-8BF2-28E390A36D16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332040" y="2852816"/>
              <a:ext cx="9540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46800" rIns="0" bIns="4680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2000">
                  <a:solidFill>
                    <a:schemeClr val="dk1"/>
                  </a:solidFill>
                </a:rPr>
                <a:t>Probleme</a:t>
              </a:r>
              <a:endParaRPr lang="en-US" sz="2000" dirty="0">
                <a:solidFill>
                  <a:schemeClr val="dk1"/>
                </a:solidFill>
              </a:endParaRPr>
            </a:p>
          </p:txBody>
        </p:sp>
        <p:sp>
          <p:nvSpPr>
            <p:cNvPr id="9" name="MIO_AGENDA_ELEMENT_ELEMENTNUMBER_3">
              <a:hlinkClick r:id="rId14" action="ppaction://hlinksldjump"/>
              <a:extLst>
                <a:ext uri="{FF2B5EF4-FFF2-40B4-BE49-F238E27FC236}">
                  <a16:creationId xmlns:a16="http://schemas.microsoft.com/office/drawing/2014/main" id="{C06F1428-1891-4567-A0B3-101385EDFB86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587440" y="2852816"/>
              <a:ext cx="468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80000"/>
                </a:lnSpc>
              </a:pPr>
              <a:r>
                <a:rPr lang="en-US" sz="3600" b="1">
                  <a:solidFill>
                    <a:srgbClr val="CED5DA"/>
                  </a:solidFill>
                </a:rPr>
                <a:t>3</a:t>
              </a:r>
              <a:endParaRPr lang="en-US" sz="3600" b="1" dirty="0">
                <a:solidFill>
                  <a:srgbClr val="CED5DA"/>
                </a:solidFill>
              </a:endParaRPr>
            </a:p>
          </p:txBody>
        </p:sp>
      </p:grpSp>
      <p:sp>
        <p:nvSpPr>
          <p:cNvPr id="6" name="Titel 5">
            <a:extLst>
              <a:ext uri="{FF2B5EF4-FFF2-40B4-BE49-F238E27FC236}">
                <a16:creationId xmlns:a16="http://schemas.microsoft.com/office/drawing/2014/main" id="{1C86A5B3-8335-8F75-30FA-671A16F15A4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3122371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032F65F-C34F-C6FC-672F-94841C193C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hema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C5DCD2E-5775-6A63-C498-6BE1ABB95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irtual Creator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E0918A0-1489-BD18-AED7-E1844AF7988A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Software zur Erstellung von Virtual Reality Trainings für Mitarbei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Entwickelt von der </a:t>
            </a:r>
            <a:r>
              <a:rPr lang="de-DE" sz="2000" dirty="0" err="1"/>
              <a:t>Employee</a:t>
            </a:r>
            <a:r>
              <a:rPr lang="de-DE" sz="2000" dirty="0"/>
              <a:t> I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Soll Kosten und Aufwand für Mitarbeitertrainings reduz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Zwei Anwendungen: Erlernen neuer Fähigkeiten oder Unterstützung direkt an der Maschine als Anleitu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VR: Erlernen neuer Fähigkeiten</a:t>
            </a:r>
          </a:p>
          <a:p>
            <a:pPr marL="525780" lvl="1" indent="-342900">
              <a:buFont typeface="Arial" panose="020B0604020202020204" pitchFamily="34" charset="0"/>
              <a:buChar char="•"/>
            </a:pPr>
            <a:r>
              <a:rPr lang="de-DE" sz="2000" dirty="0"/>
              <a:t>Mitarbeiter bucht Training in Software und lernt dann einen Prozess in einer virtuellen Umgebu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Support: Microsoft HoloLens</a:t>
            </a:r>
          </a:p>
          <a:p>
            <a:pPr marL="525780" lvl="1" indent="-342900">
              <a:buFont typeface="Arial" panose="020B0604020202020204" pitchFamily="34" charset="0"/>
              <a:buChar char="•"/>
            </a:pPr>
            <a:r>
              <a:rPr lang="de-DE" sz="2000" dirty="0"/>
              <a:t>Mitarbeiter braucht </a:t>
            </a:r>
            <a:r>
              <a:rPr lang="de-DE" sz="2000" dirty="0" err="1"/>
              <a:t>Unterstüzung</a:t>
            </a:r>
            <a:r>
              <a:rPr lang="de-DE" sz="2000" dirty="0"/>
              <a:t> an der Maschine für einen Arbeitsschritt und das </a:t>
            </a:r>
            <a:r>
              <a:rPr lang="de-DE" sz="2000" dirty="0" err="1"/>
              <a:t>Creatortraining</a:t>
            </a:r>
            <a:r>
              <a:rPr lang="de-DE" sz="2000" dirty="0"/>
              <a:t> dient als moderne Anleitu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000" dirty="0"/>
          </a:p>
          <a:p>
            <a:r>
              <a:rPr lang="de-DE" sz="2000" dirty="0"/>
              <a:t>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8264CAB-A172-05EB-A780-C88A1F0B705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B89806D-2F01-5F5E-968B-D9D490BB9DE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1075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700DE7C-4123-42A7-B494-D7A1595AE9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altLang="zh-CN" dirty="0"/>
              <a:t>Thema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B56A1EB-A8EE-4600-B6B0-853EE20580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/>
              <a:t>Them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6B36DC-D93C-4C68-9540-913DAF331A44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>
            <a:lvl1pPr>
              <a:buClr>
                <a:srgbClr val="006E5D"/>
              </a:buClr>
              <a:buSzPct val="100000"/>
              <a:buFont typeface="Calibri" panose="020F0502020204030204" pitchFamily="34" charset="0"/>
              <a:buChar char="•"/>
            </a:lvl1pPr>
            <a:lvl2pPr>
              <a:buClr>
                <a:srgbClr val="006E5D"/>
              </a:buClr>
              <a:buSzPct val="100000"/>
              <a:buFont typeface="Calibri" panose="020F0502020204030204" pitchFamily="34" charset="0"/>
              <a:buChar char="•"/>
            </a:lvl2pPr>
            <a:lvl3pPr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</a:lvl3pPr>
            <a:lvl4pPr>
              <a:buClrTx/>
              <a:buFont typeface="Calibri" panose="020F0502020204030204" pitchFamily="34" charset="0"/>
              <a:buChar char="–"/>
            </a:lvl4pPr>
            <a:lvl5pPr>
              <a:buClrTx/>
              <a:buFont typeface="Calibri" panose="020F0502020204030204" pitchFamily="34" charset="0"/>
              <a:buChar char="–"/>
            </a:lvl5pPr>
            <a:lvl6pPr>
              <a:buClrTx/>
              <a:buFont typeface="Calibri" panose="020F0502020204030204" pitchFamily="34" charset="0"/>
              <a:buChar char="–"/>
            </a:lvl6pPr>
            <a:lvl7pPr>
              <a:buClrTx/>
              <a:buFont typeface="Calibri" panose="020F0502020204030204" pitchFamily="34" charset="0"/>
              <a:buChar char="–"/>
            </a:lvl7pPr>
            <a:lvl8pPr>
              <a:buClrTx/>
              <a:buFont typeface="Calibri" panose="020F0502020204030204" pitchFamily="34" charset="0"/>
              <a:buChar char="–"/>
            </a:lvl8pPr>
            <a:lvl9pPr>
              <a:buClrTx/>
              <a:buFont typeface="Calibri" panose="020F0502020204030204" pitchFamily="34" charset="0"/>
              <a:buChar char="–"/>
            </a:lvl9pPr>
          </a:lstStyle>
          <a:p>
            <a:pPr marL="285750" indent="-285750"/>
            <a:r>
              <a:rPr lang="de-DE" altLang="zh-CN" sz="2000" dirty="0"/>
              <a:t>Konzeptionierung der User Journey für Produktionsmitarbeiter zur Verwendung der HoloLens</a:t>
            </a:r>
          </a:p>
          <a:p>
            <a:pPr marL="285750" indent="-285750"/>
            <a:r>
              <a:rPr lang="de-DE" altLang="zh-CN" sz="2000" dirty="0"/>
              <a:t>Was muss der User machen um vom aufsetzen der HoloLens bis zum starten des Trainings</a:t>
            </a:r>
          </a:p>
          <a:p>
            <a:pPr marL="285750" indent="-285750"/>
            <a:r>
              <a:rPr lang="de-DE" altLang="zh-CN" sz="2000" dirty="0"/>
              <a:t>Wie wird der User geleitet? Welche Aufgaben muss er erledigen? Wie erledigt er diese Aufgaben?</a:t>
            </a:r>
          </a:p>
          <a:p>
            <a:pPr marL="285750" indent="-285750"/>
            <a:r>
              <a:rPr lang="de-DE" altLang="zh-CN" sz="2000" dirty="0"/>
              <a:t>Wichtige Aspekte:</a:t>
            </a:r>
          </a:p>
          <a:p>
            <a:pPr marL="468630" lvl="1" indent="-285750"/>
            <a:r>
              <a:rPr lang="de-DE" altLang="zh-CN" sz="2000" dirty="0"/>
              <a:t>Keine Performanceverluste</a:t>
            </a:r>
          </a:p>
          <a:p>
            <a:pPr marL="468630" lvl="1" indent="-285750"/>
            <a:r>
              <a:rPr lang="de-DE" altLang="zh-CN" sz="2000" dirty="0"/>
              <a:t>Unkompliziert für den User</a:t>
            </a:r>
          </a:p>
          <a:p>
            <a:pPr marL="468630" lvl="1" indent="-285750"/>
            <a:r>
              <a:rPr lang="de-DE" altLang="zh-CN" sz="2000" dirty="0"/>
              <a:t>Leicht und intuitiv bedienba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5559E2-53A7-4DD0-991C-C157A4F8653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 altLang="zh-CN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0691D1-0F59-E768-4698-C3C46438F66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845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090B8BD-014B-0C5B-AC28-CB64E1070E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46A5190-9307-E2E4-5CF6-000508F6E21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587440" y="1772816"/>
            <a:ext cx="10284600" cy="1440001"/>
            <a:chOff x="587440" y="1772816"/>
            <a:chExt cx="10284600" cy="1440001"/>
          </a:xfrm>
        </p:grpSpPr>
        <p:sp>
          <p:nvSpPr>
            <p:cNvPr id="2" name="MIO_AGENDA_ELEMENT_TITEL_1">
              <a:hlinkClick r:id="rId12" action="ppaction://hlinksldjump"/>
              <a:extLst>
                <a:ext uri="{FF2B5EF4-FFF2-40B4-BE49-F238E27FC236}">
                  <a16:creationId xmlns:a16="http://schemas.microsoft.com/office/drawing/2014/main" id="{5E3761DE-E740-4A99-8BF2-28E390A36D16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1332040" y="1772816"/>
              <a:ext cx="9540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46800" rIns="0" bIns="4680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2000">
                  <a:solidFill>
                    <a:schemeClr val="dk1"/>
                  </a:solidFill>
                </a:rPr>
                <a:t>Thema</a:t>
              </a:r>
              <a:endParaRPr lang="en-US" sz="2000" dirty="0">
                <a:solidFill>
                  <a:schemeClr val="dk1"/>
                </a:solidFill>
              </a:endParaRPr>
            </a:p>
          </p:txBody>
        </p:sp>
        <p:sp>
          <p:nvSpPr>
            <p:cNvPr id="3" name="MIO_AGENDA_ELEMENT_ELEMENTNUMBER_1">
              <a:hlinkClick r:id="rId12" action="ppaction://hlinksldjump"/>
              <a:extLst>
                <a:ext uri="{FF2B5EF4-FFF2-40B4-BE49-F238E27FC236}">
                  <a16:creationId xmlns:a16="http://schemas.microsoft.com/office/drawing/2014/main" id="{C06F1428-1891-4567-A0B3-101385EDFB86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587440" y="1772816"/>
              <a:ext cx="468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80000"/>
                </a:lnSpc>
              </a:pPr>
              <a:r>
                <a:rPr lang="en-US" sz="3600" b="1">
                  <a:solidFill>
                    <a:srgbClr val="CED5DA"/>
                  </a:solidFill>
                </a:rPr>
                <a:t>1</a:t>
              </a:r>
              <a:endParaRPr lang="en-US" sz="3600" b="1" dirty="0">
                <a:solidFill>
                  <a:srgbClr val="CED5DA"/>
                </a:solidFill>
              </a:endParaRPr>
            </a:p>
          </p:txBody>
        </p:sp>
        <p:sp>
          <p:nvSpPr>
            <p:cNvPr id="4" name="MIO_AGENDA_ELEMENT_TITEL_2">
              <a:hlinkClick r:id="rId13" action="ppaction://hlinksldjump"/>
              <a:extLst>
                <a:ext uri="{FF2B5EF4-FFF2-40B4-BE49-F238E27FC236}">
                  <a16:creationId xmlns:a16="http://schemas.microsoft.com/office/drawing/2014/main" id="{05059EAB-CE71-435F-A603-EE4FA6670A5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332040" y="2312816"/>
              <a:ext cx="9540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46800" rIns="0" bIns="4680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2000" b="1">
                  <a:solidFill>
                    <a:schemeClr val="dk1"/>
                  </a:solidFill>
                </a:rPr>
                <a:t>Zwischenstand</a:t>
              </a:r>
              <a:endParaRPr lang="en-US" sz="2000" b="1" dirty="0">
                <a:solidFill>
                  <a:schemeClr val="dk1"/>
                </a:solidFill>
              </a:endParaRPr>
            </a:p>
          </p:txBody>
        </p:sp>
        <p:sp>
          <p:nvSpPr>
            <p:cNvPr id="5" name="MIO_AGENDA_ELEMENT_ELEMENTNUMBER_2">
              <a:hlinkClick r:id="rId13" action="ppaction://hlinksldjump"/>
              <a:extLst>
                <a:ext uri="{FF2B5EF4-FFF2-40B4-BE49-F238E27FC236}">
                  <a16:creationId xmlns:a16="http://schemas.microsoft.com/office/drawing/2014/main" id="{12A87FAF-CF3F-4101-B67C-1C2D0B5833F7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587440" y="2312816"/>
              <a:ext cx="468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80000"/>
                </a:lnSpc>
              </a:pPr>
              <a:r>
                <a:rPr lang="en-US" sz="3600" b="1">
                  <a:solidFill>
                    <a:srgbClr val="CED5DA"/>
                  </a:solidFill>
                </a:rPr>
                <a:t>2</a:t>
              </a:r>
              <a:endParaRPr lang="en-US" sz="3600" b="1" dirty="0">
                <a:solidFill>
                  <a:srgbClr val="CED5DA"/>
                </a:solidFill>
              </a:endParaRPr>
            </a:p>
          </p:txBody>
        </p:sp>
        <p:sp>
          <p:nvSpPr>
            <p:cNvPr id="8" name="MIO_AGENDA_ELEMENT_TITEL_3">
              <a:hlinkClick r:id="rId14" action="ppaction://hlinksldjump"/>
              <a:extLst>
                <a:ext uri="{FF2B5EF4-FFF2-40B4-BE49-F238E27FC236}">
                  <a16:creationId xmlns:a16="http://schemas.microsoft.com/office/drawing/2014/main" id="{5E3761DE-E740-4A99-8BF2-28E390A36D16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332040" y="2852816"/>
              <a:ext cx="9540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46800" rIns="0" bIns="4680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2000">
                  <a:solidFill>
                    <a:schemeClr val="dk1"/>
                  </a:solidFill>
                </a:rPr>
                <a:t>Probleme</a:t>
              </a:r>
              <a:endParaRPr lang="en-US" sz="2000" dirty="0">
                <a:solidFill>
                  <a:schemeClr val="dk1"/>
                </a:solidFill>
              </a:endParaRPr>
            </a:p>
          </p:txBody>
        </p:sp>
        <p:sp>
          <p:nvSpPr>
            <p:cNvPr id="9" name="MIO_AGENDA_ELEMENT_ELEMENTNUMBER_3">
              <a:hlinkClick r:id="rId14" action="ppaction://hlinksldjump"/>
              <a:extLst>
                <a:ext uri="{FF2B5EF4-FFF2-40B4-BE49-F238E27FC236}">
                  <a16:creationId xmlns:a16="http://schemas.microsoft.com/office/drawing/2014/main" id="{C06F1428-1891-4567-A0B3-101385EDFB86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587440" y="2852816"/>
              <a:ext cx="468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80000"/>
                </a:lnSpc>
              </a:pPr>
              <a:r>
                <a:rPr lang="en-US" sz="3600" b="1">
                  <a:solidFill>
                    <a:srgbClr val="CED5DA"/>
                  </a:solidFill>
                </a:rPr>
                <a:t>3</a:t>
              </a:r>
              <a:endParaRPr lang="en-US" sz="3600" b="1" dirty="0">
                <a:solidFill>
                  <a:srgbClr val="CED5DA"/>
                </a:solidFill>
              </a:endParaRPr>
            </a:p>
          </p:txBody>
        </p:sp>
      </p:grpSp>
      <p:sp>
        <p:nvSpPr>
          <p:cNvPr id="6" name="Titel 5">
            <a:extLst>
              <a:ext uri="{FF2B5EF4-FFF2-40B4-BE49-F238E27FC236}">
                <a16:creationId xmlns:a16="http://schemas.microsoft.com/office/drawing/2014/main" id="{1C86A5B3-8335-8F75-30FA-671A16F15A4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1188876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203921C-1993-5828-64E6-C8AA413F3E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Zwischenstand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AE63477-A405-47A9-CCA8-54A11D19F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ischenstand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D3F6342-290F-D678-8923-B5D865AE0723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>
            <a:lvl1pPr>
              <a:buClr>
                <a:srgbClr val="006E5D"/>
              </a:buClr>
              <a:buSzPct val="100000"/>
              <a:buFont typeface="Calibri" panose="020F0502020204030204" pitchFamily="34" charset="0"/>
              <a:buChar char="•"/>
            </a:lvl1pPr>
            <a:lvl2pPr>
              <a:buClr>
                <a:srgbClr val="006E5D"/>
              </a:buClr>
              <a:buSzPct val="100000"/>
              <a:buFont typeface="Calibri" panose="020F0502020204030204" pitchFamily="34" charset="0"/>
              <a:buChar char="•"/>
            </a:lvl2pPr>
            <a:lvl3pPr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</a:lvl3pPr>
            <a:lvl4pPr>
              <a:buClrTx/>
              <a:buFont typeface="Calibri" panose="020F0502020204030204" pitchFamily="34" charset="0"/>
              <a:buChar char="–"/>
            </a:lvl4pPr>
            <a:lvl5pPr>
              <a:buClrTx/>
              <a:buFont typeface="Calibri" panose="020F0502020204030204" pitchFamily="34" charset="0"/>
              <a:buChar char="–"/>
            </a:lvl5pPr>
            <a:lvl6pPr>
              <a:buClrTx/>
              <a:buFont typeface="Calibri" panose="020F0502020204030204" pitchFamily="34" charset="0"/>
              <a:buChar char="–"/>
            </a:lvl6pPr>
            <a:lvl7pPr>
              <a:buClrTx/>
              <a:buFont typeface="Calibri" panose="020F0502020204030204" pitchFamily="34" charset="0"/>
              <a:buChar char="–"/>
            </a:lvl7pPr>
            <a:lvl8pPr>
              <a:buClrTx/>
              <a:buFont typeface="Calibri" panose="020F0502020204030204" pitchFamily="34" charset="0"/>
              <a:buChar char="–"/>
            </a:lvl8pPr>
            <a:lvl9pPr>
              <a:buClrTx/>
              <a:buFont typeface="Calibri" panose="020F0502020204030204" pitchFamily="34" charset="0"/>
              <a:buChar char="–"/>
            </a:lvl9pPr>
          </a:lstStyle>
          <a:p>
            <a:pPr marL="285750" indent="-285750"/>
            <a:r>
              <a:rPr lang="de-DE" sz="2000" dirty="0"/>
              <a:t>Grobes Konzept liegt vor</a:t>
            </a:r>
          </a:p>
          <a:p>
            <a:pPr marL="468630" lvl="1" indent="-285750"/>
            <a:r>
              <a:rPr lang="de-DE" sz="2000" dirty="0"/>
              <a:t>UserJourney ist schon ausgearbeitet</a:t>
            </a:r>
          </a:p>
          <a:p>
            <a:pPr marL="468630" lvl="1" indent="-285750"/>
            <a:r>
              <a:rPr lang="de-DE" sz="2000" dirty="0"/>
              <a:t>Probleme und Aufgaben ermittelt</a:t>
            </a:r>
          </a:p>
          <a:p>
            <a:pPr marL="285750" indent="-285750"/>
            <a:r>
              <a:rPr lang="de-DE" sz="2000" dirty="0"/>
              <a:t>Konzepte für Probleme überlegt</a:t>
            </a:r>
          </a:p>
          <a:p>
            <a:pPr marL="285750" indent="-285750"/>
            <a:r>
              <a:rPr lang="de-DE" sz="2000" dirty="0"/>
              <a:t>Erste Proof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Concepts</a:t>
            </a:r>
            <a:r>
              <a:rPr lang="de-DE" sz="2000" dirty="0"/>
              <a:t> in Entwicklung</a:t>
            </a:r>
          </a:p>
          <a:p>
            <a:pPr marL="285750" indent="-285750"/>
            <a:r>
              <a:rPr lang="de-DE" sz="2000" dirty="0"/>
              <a:t>Arbeit muss noch verfasst werden</a:t>
            </a:r>
          </a:p>
          <a:p>
            <a:pPr marL="285750" indent="-285750"/>
            <a:endParaRPr lang="de-DE" sz="2000" dirty="0"/>
          </a:p>
          <a:p>
            <a:pPr marL="285750" indent="-285750"/>
            <a:endParaRPr lang="de-DE" sz="20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1BD4017-DF8F-E8AE-7B7F-9F2A8735738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0893065-16B3-8CEB-C7CC-72DC6238216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4536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090B8BD-014B-0C5B-AC28-CB64E1070E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5D8F6216-42A9-03D2-6A0C-40DEF92A13B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587440" y="1772816"/>
            <a:ext cx="10284600" cy="1440001"/>
            <a:chOff x="587440" y="1772816"/>
            <a:chExt cx="10284600" cy="1440001"/>
          </a:xfrm>
        </p:grpSpPr>
        <p:sp>
          <p:nvSpPr>
            <p:cNvPr id="2" name="MIO_AGENDA_ELEMENT_TITEL_1">
              <a:hlinkClick r:id="rId12" action="ppaction://hlinksldjump"/>
              <a:extLst>
                <a:ext uri="{FF2B5EF4-FFF2-40B4-BE49-F238E27FC236}">
                  <a16:creationId xmlns:a16="http://schemas.microsoft.com/office/drawing/2014/main" id="{5E3761DE-E740-4A99-8BF2-28E390A36D16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1332040" y="1772816"/>
              <a:ext cx="9540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46800" rIns="0" bIns="4680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2000">
                  <a:solidFill>
                    <a:schemeClr val="dk1"/>
                  </a:solidFill>
                </a:rPr>
                <a:t>Thema</a:t>
              </a:r>
              <a:endParaRPr lang="en-US" sz="2000" dirty="0">
                <a:solidFill>
                  <a:schemeClr val="dk1"/>
                </a:solidFill>
              </a:endParaRPr>
            </a:p>
          </p:txBody>
        </p:sp>
        <p:sp>
          <p:nvSpPr>
            <p:cNvPr id="3" name="MIO_AGENDA_ELEMENT_ELEMENTNUMBER_1">
              <a:hlinkClick r:id="rId12" action="ppaction://hlinksldjump"/>
              <a:extLst>
                <a:ext uri="{FF2B5EF4-FFF2-40B4-BE49-F238E27FC236}">
                  <a16:creationId xmlns:a16="http://schemas.microsoft.com/office/drawing/2014/main" id="{C06F1428-1891-4567-A0B3-101385EDFB86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587440" y="1772816"/>
              <a:ext cx="468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80000"/>
                </a:lnSpc>
              </a:pPr>
              <a:r>
                <a:rPr lang="en-US" sz="3600" b="1">
                  <a:solidFill>
                    <a:srgbClr val="CED5DA"/>
                  </a:solidFill>
                </a:rPr>
                <a:t>1</a:t>
              </a:r>
              <a:endParaRPr lang="en-US" sz="3600" b="1" dirty="0">
                <a:solidFill>
                  <a:srgbClr val="CED5DA"/>
                </a:solidFill>
              </a:endParaRPr>
            </a:p>
          </p:txBody>
        </p:sp>
        <p:sp>
          <p:nvSpPr>
            <p:cNvPr id="4" name="MIO_AGENDA_ELEMENT_TITEL_2">
              <a:hlinkClick r:id="rId13" action="ppaction://hlinksldjump"/>
              <a:extLst>
                <a:ext uri="{FF2B5EF4-FFF2-40B4-BE49-F238E27FC236}">
                  <a16:creationId xmlns:a16="http://schemas.microsoft.com/office/drawing/2014/main" id="{5E3761DE-E740-4A99-8BF2-28E390A36D16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332040" y="2312816"/>
              <a:ext cx="9540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46800" rIns="0" bIns="4680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2000">
                  <a:solidFill>
                    <a:schemeClr val="dk1"/>
                  </a:solidFill>
                </a:rPr>
                <a:t>Zwischenstand</a:t>
              </a:r>
              <a:endParaRPr lang="en-US" sz="2000" dirty="0">
                <a:solidFill>
                  <a:schemeClr val="dk1"/>
                </a:solidFill>
              </a:endParaRPr>
            </a:p>
          </p:txBody>
        </p:sp>
        <p:sp>
          <p:nvSpPr>
            <p:cNvPr id="5" name="MIO_AGENDA_ELEMENT_ELEMENTNUMBER_2">
              <a:hlinkClick r:id="rId13" action="ppaction://hlinksldjump"/>
              <a:extLst>
                <a:ext uri="{FF2B5EF4-FFF2-40B4-BE49-F238E27FC236}">
                  <a16:creationId xmlns:a16="http://schemas.microsoft.com/office/drawing/2014/main" id="{C06F1428-1891-4567-A0B3-101385EDFB86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587440" y="2312816"/>
              <a:ext cx="468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80000"/>
                </a:lnSpc>
              </a:pPr>
              <a:r>
                <a:rPr lang="en-US" sz="3600" b="1">
                  <a:solidFill>
                    <a:srgbClr val="CED5DA"/>
                  </a:solidFill>
                </a:rPr>
                <a:t>2</a:t>
              </a:r>
              <a:endParaRPr lang="en-US" sz="3600" b="1" dirty="0">
                <a:solidFill>
                  <a:srgbClr val="CED5DA"/>
                </a:solidFill>
              </a:endParaRPr>
            </a:p>
          </p:txBody>
        </p:sp>
        <p:sp>
          <p:nvSpPr>
            <p:cNvPr id="8" name="MIO_AGENDA_ELEMENT_TITEL_3">
              <a:hlinkClick r:id="rId14" action="ppaction://hlinksldjump"/>
              <a:extLst>
                <a:ext uri="{FF2B5EF4-FFF2-40B4-BE49-F238E27FC236}">
                  <a16:creationId xmlns:a16="http://schemas.microsoft.com/office/drawing/2014/main" id="{05059EAB-CE71-435F-A603-EE4FA6670A53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332040" y="2852816"/>
              <a:ext cx="9540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46800" rIns="0" bIns="4680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2000" b="1">
                  <a:solidFill>
                    <a:schemeClr val="dk1"/>
                  </a:solidFill>
                </a:rPr>
                <a:t>Probleme</a:t>
              </a:r>
              <a:endParaRPr lang="en-US" sz="2000" b="1" dirty="0">
                <a:solidFill>
                  <a:schemeClr val="dk1"/>
                </a:solidFill>
              </a:endParaRPr>
            </a:p>
          </p:txBody>
        </p:sp>
        <p:sp>
          <p:nvSpPr>
            <p:cNvPr id="9" name="MIO_AGENDA_ELEMENT_ELEMENTNUMBER_3">
              <a:hlinkClick r:id="rId14" action="ppaction://hlinksldjump"/>
              <a:extLst>
                <a:ext uri="{FF2B5EF4-FFF2-40B4-BE49-F238E27FC236}">
                  <a16:creationId xmlns:a16="http://schemas.microsoft.com/office/drawing/2014/main" id="{12A87FAF-CF3F-4101-B67C-1C2D0B5833F7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587440" y="2852816"/>
              <a:ext cx="468000" cy="36000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lt2">
                      <a:alpha val="0"/>
                    </a:schemeClr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66666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80000"/>
                </a:lnSpc>
              </a:pPr>
              <a:r>
                <a:rPr lang="en-US" sz="3600" b="1">
                  <a:solidFill>
                    <a:srgbClr val="CED5DA"/>
                  </a:solidFill>
                </a:rPr>
                <a:t>3</a:t>
              </a:r>
              <a:endParaRPr lang="en-US" sz="3600" b="1" dirty="0">
                <a:solidFill>
                  <a:srgbClr val="CED5DA"/>
                </a:solidFill>
              </a:endParaRPr>
            </a:p>
          </p:txBody>
        </p:sp>
      </p:grpSp>
      <p:sp>
        <p:nvSpPr>
          <p:cNvPr id="6" name="Titel 5">
            <a:extLst>
              <a:ext uri="{FF2B5EF4-FFF2-40B4-BE49-F238E27FC236}">
                <a16:creationId xmlns:a16="http://schemas.microsoft.com/office/drawing/2014/main" id="{1C86A5B3-8335-8F75-30FA-671A16F15A4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16260108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A81F7F8-F126-2BCE-435A-067E2829CC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1016EE4-B4AE-E2DE-2105-EAFFF52F3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7729668-7E5A-C4D2-9AA2-9A64A7132CA8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Keine Großartigen Probleme die den Fortschritt behinder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-&gt; läuft nach Pla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17894A1-AD81-4B5B-DCA0-976B86E91F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42C3400-401A-E196-F6D5-522A3CC425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1847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86532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Tm="2000">
        <p159:morph option="byObject"/>
      </p:transition>
    </mc:Choice>
    <mc:Fallback xmlns:p14="http://schemas.microsoft.com/office/powerpoint/2010/main" xmlns="">
      <p:transition spd="slow" advTm="200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  <p:tag name="VCT_SHOW_CA" val="False"/>
  <p:tag name="THINKCELLUNDODONOTDELETE" val="0"/>
  <p:tag name="MIO_CHANGETRACKING" val="true"/>
  <p:tag name="MIO_PRESENTATION_LANGUAGE" val="10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"/>
  <p:tag name="MIO_SHOW_DATE" val="True"/>
  <p:tag name="MIO_SHOW_FOOTER" val="True"/>
  <p:tag name="MIO_SHOW_PAGENUMBER" val="True"/>
  <p:tag name="MIO_AVOID_BLANK_LAYOUT" val="False"/>
  <p:tag name="MIO_CD_LAYOUT_VALID_AREA" val="False"/>
  <p:tag name="MIO_EMBED_FONT" val="False"/>
  <p:tag name="MIO_MATCH_COLOR_SCHEME" val="False"/>
  <p:tag name="MIO_NUMBER_OF_VALID_LAYOUTS" val="23"/>
  <p:tag name="MIO_HDS" val="True"/>
  <p:tag name="MIO_SKIPVERSION" val="01.01.0001 00:00:00"/>
  <p:tag name="MIO_EKGUID" val="e64769c6-6faf-4640-b0aa-ce944e4358c7"/>
  <p:tag name="MIO_UPDATE" val="True"/>
  <p:tag name="MIO_DBID" val="E0259410-156D-4F1A-B326-E95E43C8DB51"/>
  <p:tag name="MIO_OBJECTNAME" val="Schaeffler Master 16:9"/>
  <p:tag name="MIO_LASTEDITORNAME" val="Maciej Pieniak"/>
  <p:tag name="MIO_VERSION" val="06.11.2023 09:48:19"/>
  <p:tag name="MIO_LASTDOWNLOADED" val="06.02.2024 13:28:51.863"/>
  <p:tag name="MIO_CDID" val="da3a8340-9267-4983-aec9-a668652af21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19548fd-0ce5-4b3e-8c4f-c22883394fdb"/>
  <p:tag name="MIO_EK" val="6438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3"/>
  <p:tag name="MIO_AGENDA_ELEMENTNAME" val="Probleme"/>
  <p:tag name="MIO_AGENDA_EXPLICIT_ITEM_LEVEL_TAG" val="0"/>
  <p:tag name="MIO_AGENDA_NUMBER_STRING_TAG" val="3"/>
  <p:tag name="MIO_AGENDA_SCALEMODE_FIT_TO_SLIDE_TAG" val="True"/>
  <p:tag name="MIO_EKGUID" val="5d3e6d51-ef50-4fd1-b788-3d61203d4a9c"/>
  <p:tag name="MIO_GUID" val="8a30ee0c-1884-4788-88de-4568496ef224"/>
  <p:tag name="MIO_VERSION" val="31.12.9999 23:59:59"/>
  <p:tag name="MIO_DBID" val="E0259410-156D-4F1A-B326-E95E43C8DB51"/>
  <p:tag name="MIO_LASTDOWNLOADED" val="07.02.2024 08:16:10.300"/>
  <p:tag name="MIO_UPDATE" val="Fals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Iq4DgBZPWMpJeGIHTkA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21"/>
  <p:tag name="MIO_HDS" val="True"/>
  <p:tag name="MIO_EK" val="6648"/>
  <p:tag name="MIO_EKGUID" val="ca5d887e-a718-4696-85fb-95a0134e88fd"/>
  <p:tag name="MIO_UPDATE" val="True"/>
  <p:tag name="MIO_VERSION" val="20.05.2019 20:22:59"/>
  <p:tag name="MIO_DBID" val="E0259410-156D-4F1A-B326-E95E43C8DB51"/>
  <p:tag name="MIO_LASTDOWNLOADED" val="24.05.2019 12:15:26"/>
  <p:tag name="MIO_OBJECTNAME" val="Schaeffler Master 16:9 fixed Title2"/>
  <p:tag name="MIO_LASTEDITORNAME" val="Heike Pinther"/>
  <p:tag name="MIO_CDID" val="da3a8340-9267-4983-aec9-a668652af21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Deutsch;Bitte wählen Sie einen Copyright-Text für alle Folien dieser Präsentation aus:"/>
  <p:tag name="MIO_USER_INPUT_LANGUAGE" val="de-DE"/>
  <p:tag name="MIO_USER_INPUT_OPTIONS" val="Alle Rechte vorbehalten für Schaeffler Sondermaschinenbau AG &amp; Co. KG. insbesondere für den Fall einer Schutzrechtserteilung.;Alle Rechte vorbehalten für Schaeffler Technologies AG &amp; Co. KG, insbesondere für den Fall einer Schutzrechtserteilung.;Alle Rechte vorbehalten für Schaeffler AG, insbesondere für den Fall einer Schutzrechtserteilung.;Alle Rechte vorbehalten für Schaeffler Automotive Buehl GmbH &amp; Co. KG, insbesondere für den Fall einer Schutzrechtserteilung.;Alle Rechte vorbehalten für Schaeffler Brasil Ltda., insbesondere für den Fall einer Schutzrechtserteilung.;Alle Rechte vorbehalten für Schaeffler AP, insbesondere für den Fall einer Schutzrechtserteilung.;Alle Rechte vorbehalten für Schaeffler Digital Solutions GmbH, insbesondere für den Fall einer Schutzrechtserteilung.;Alle Rechte vorbehalten für Schaeffler Aerospace Germany GmbH &amp; Co. KG, insbesondere für den Fall einer Schutzrechtserteilung.;Alle Rechte vorbehalten für Schaeffler Automotive Aftermarket GmbH &amp; Co. KG, insbesondere für den Fall einer Schutzrechtserteilung.;Alle Rechte vorbehalten für Schaeffler ByWire Technologie GmbH &amp; Co. KG, insbesondere für den Fall einer Schutzrechtserteilung.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nglish;Please choose a copyright text for all slides of this presentation:"/>
  <p:tag name="MIO_USER_INPUT_LANGUAGE" val="en-US"/>
  <p:tag name="MIO_USER_INPUT_OPTIONS" val="All rights reserved to Schaeffler Sondermaschinenbau AG &amp; Co. KG. in particular in case of grant of an IP right.;All rights reserved to Schaeffler Technologies AG &amp; Co. KG, in particular in case of grant of an IP right.;All rights reserved to Schaeffler AG, in particular in case of grant of an IP right.;All rights reserved to Schaeffler Automotive Buehl GmbH &amp; Co. KG, in particular in case of grant of an IP right.;All rights reserved to Schaeffler Brasil Ltda., in particular in case of grant of an IP right.;All rights reserved to Schaeffler AP, in particular in case of grant of an IP right.;© Schaeffler Group USA, Inc. All rights reserved. This material may not be reproduced, displayed, modified or distributed without the express prior written permission of the copyright holder.;All rights reserved to Schaeffler Digital Solutions GmbH, in particular in case of grant of an IP right.;All rights reserved to Schaeffler Aerospace Germany GmbH &amp; Co. KG, in particular in case of grant of an IP right.;All rights reserved to Schaeffler Automotive Aftermarket GmbH &amp; Co. KG, in particular in case of grant of an IP right.;All rights reserved to Schaeffler ByWire Technologie GmbH &amp; Co. KG, in particular in case of grant of an IP right.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ortuguêse;Por favor, selecione um texto de copyright para todos os slides desta apresentação:"/>
  <p:tag name="MIO_USER_INPUT_LANGUAGE" val="pt-PT"/>
  <p:tag name="MIO_USER_INPUT_OPTIONS" val=" ;Todos os direitos reservados a Schaeffler Technologies AG &amp; Co. KG, em especial aqueles referentes ao direito de propriedade intelectual.;Todos os direitos reservados a Schaeffler AG, em especial aqueles referentes ao direito de propriedade intelectual.;Todos os direitos reservados a Schaeffler Automotive Buehl GmbH &amp; Co. KG, em especial aqueles referentes ao direito de propriedade intelectual.;Todos os direitos reservados a Schaeffler Brasil Ltda., em especial aqueles referentes ao direito de propriedade intelectual.;Todos os direitos reservados a Schaeffler AP, em especial aqueles referentes ao direito de propriedade intelectual.;Todos os direitos reservados a Schaeffler Automotive Aftermarket GmbH &amp; Co. KG, em especial aqueles referents ao direito de propriedade intelectual.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中文;请选择版权声明:"/>
  <p:tag name="MIO_USER_INPUT_LANGUAGE" val="zh-SG"/>
  <p:tag name="MIO_USER_INPUT_OPTIONS" val=" ;版权所有Schaeffler Technologies AG &amp; Co. KG保留所有权利, 客户特殊要求，使用内部放行标准.;版权所有Schaeffler AG保留所有权利, 客户特殊要求，使用内部放行标准.;版权所有Schaeffler Automotive Buehl GmbH &amp; Co. KG保留所有权利, 客户特殊要求，使用内部放行标准.;版权所有Schaeffler Brasil Ltda.保留所有权利, 客户特殊要求，使用内部放行标准.;版权所有Schaeffler AP,保留所有权利, 客户特殊要求，使用内部放行标准.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Bjl30v4Zc_YP6SyFuNN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19548fd-0ce5-4b3e-8c4f-c22883394fdb"/>
  <p:tag name="MIO_EK" val="6438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1"/>
  <p:tag name="MIO_AGENDA_ELEMENTNAME" val="Thema"/>
  <p:tag name="MIO_AGENDA_EXPLICIT_ITEM_LEVEL_TAG" val="0"/>
  <p:tag name="MIO_AGENDA_NUMBER_STRING_TAG" val="1"/>
  <p:tag name="MIO_AGENDA_SCALEMODE_FIT_TO_SLIDE_TAG" val="True"/>
  <p:tag name="MIO_EKGUID" val="5d3e6d51-ef50-4fd1-b788-3d61203d4a9c"/>
  <p:tag name="MIO_GUID" val="534d44f4-2fe4-4587-976d-478c250daf82"/>
  <p:tag name="MIO_VERSION" val="31.12.9999 23:59:59"/>
  <p:tag name="MIO_DBID" val="E0259410-156D-4F1A-B326-E95E43C8DB51"/>
  <p:tag name="MIO_LASTDOWNLOADED" val="07.02.2024 08:16:10.208"/>
  <p:tag name="MIO_UPDATE" val="Fals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nglish;Please choose a copyright text for all slides of this presentation:"/>
  <p:tag name="MIO_USER_INPUT_LANGUAGE" val="en-GB"/>
  <p:tag name="MIO_USER_INPUT_OPTIONS" val=" ;All rights reserved to Schaeffler Technologies AG &amp; Co. KG, in particular in case of grant of an IP right.;All rights reserved to Schaeffler AG, in particular in case of grant of an IP right.;All rights reserved to Schaeffler Automotive Buehl GmbH &amp; Co. KG, in particular in case of grant of an IP right.;All rights reserved to Schaeffler Brasil Ltda., in particular in case of grant of an IP right.;All rights reserved to Schaeffler AP, in particular in case of grant of an IP right.;© Schaeffler Group USA, Inc. All rights reserved. This material may not be reproduced, displayed, modified or distributed without the express prior written permission of the copyright holder.;All rights reserved to Schaeffler Digital Solutions GmbH, in particular in case of grant of an IP right.;All rights reserved to Schaeffler Aerospace Germany GmbH &amp; Co. KG, in particular in case of grant of an IP right.;All rights reserved to Schaeffler Automotive Aftermarket GmbH &amp; Co. KG, in particular in case of grant of an IP right.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19548fd-0ce5-4b3e-8c4f-c22883394fdb"/>
  <p:tag name="MIO_EK" val="6438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2"/>
  <p:tag name="MIO_AGENDA_ELEMENTNAME" val="Zwischenstand"/>
  <p:tag name="MIO_AGENDA_EXPLICIT_ITEM_LEVEL_TAG" val="0"/>
  <p:tag name="MIO_AGENDA_NUMBER_STRING_TAG" val="2"/>
  <p:tag name="MIO_AGENDA_SCALEMODE_FIT_TO_SLIDE_TAG" val="True"/>
  <p:tag name="MIO_EKGUID" val="5d3e6d51-ef50-4fd1-b788-3d61203d4a9c"/>
  <p:tag name="MIO_GUID" val="b9a325d0-4ec6-46fc-9e1c-2581e0f3834c"/>
  <p:tag name="MIO_VERSION" val="31.12.9999 23:59:59"/>
  <p:tag name="MIO_DBID" val="E0259410-156D-4F1A-B326-E95E43C8DB51"/>
  <p:tag name="MIO_LASTDOWNLOADED" val="07.02.2024 08:16:10.257"/>
  <p:tag name="MIO_UPDATE" val="Fals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heme/theme1.xml><?xml version="1.0" encoding="utf-8"?>
<a:theme xmlns:a="http://schemas.openxmlformats.org/drawingml/2006/main" name="Schaeffler Master 16:9">
  <a:themeElements>
    <a:clrScheme name="Schaeffler">
      <a:dk1>
        <a:srgbClr val="262626"/>
      </a:dk1>
      <a:lt1>
        <a:srgbClr val="FFFFFF"/>
      </a:lt1>
      <a:dk2>
        <a:srgbClr val="646464"/>
      </a:dk2>
      <a:lt2>
        <a:srgbClr val="E3E3E3"/>
      </a:lt2>
      <a:accent1>
        <a:srgbClr val="73A195"/>
      </a:accent1>
      <a:accent2>
        <a:srgbClr val="C0C6BF"/>
      </a:accent2>
      <a:accent3>
        <a:srgbClr val="878787"/>
      </a:accent3>
      <a:accent4>
        <a:srgbClr val="1D9BB2"/>
      </a:accent4>
      <a:accent5>
        <a:srgbClr val="B6BAC2"/>
      </a:accent5>
      <a:accent6>
        <a:srgbClr val="A1C861"/>
      </a:accent6>
      <a:hlink>
        <a:srgbClr val="006E5D"/>
      </a:hlink>
      <a:folHlink>
        <a:srgbClr val="73A19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E3E3E3"/>
        </a:solidFill>
        <a:ln w="6350">
          <a:solidFill>
            <a:srgbClr val="E3E3E3"/>
          </a:solidFill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>
            <a:solidFill>
              <a:srgbClr val="000000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600"/>
          </a:spcBef>
          <a:spcAft>
            <a:spcPts val="0"/>
          </a:spcAft>
          <a:buClr>
            <a:srgbClr val="00893D"/>
          </a:buClr>
          <a:defRPr sz="1400" b="0" i="0" u="none" baseline="0" dirty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  <a:custClrLst>
    <a:custClr name="GREEN GRAY">
      <a:srgbClr val="C0C6BF"/>
    </a:custClr>
    <a:custClr name="#">
      <a:srgbClr val="FFFFFF"/>
    </a:custClr>
    <a:custClr name="NORDIC BLUE">
      <a:srgbClr val="1D9BB2"/>
    </a:custClr>
    <a:custClr name="SUNNY YELLOW">
      <a:srgbClr val="FFE160"/>
    </a:custClr>
    <a:custClr name="LIME">
      <a:srgbClr val="A1C861"/>
    </a:custClr>
    <a:custClr name="#">
      <a:srgbClr val="FFFFFF"/>
    </a:custClr>
    <a:custClr name="Special color / Gold">
      <a:srgbClr val="C6AC02"/>
    </a:custClr>
    <a:custClr name="Special color / Red">
      <a:srgbClr val="A31739"/>
    </a:custClr>
    <a:custClr name="Special color / Blue">
      <a:srgbClr val="036590"/>
    </a:custClr>
    <a:custClr name="Special color / Green">
      <a:srgbClr val="006E5D"/>
    </a:custClr>
    <a:custClr name="DARK BLUE GRAY">
      <a:srgbClr val="B6BAC2"/>
    </a:custClr>
    <a:custClr name="#">
      <a:srgbClr val="FFFFFF"/>
    </a:custClr>
    <a:custClr>
      <a:srgbClr val="56B3C5"/>
    </a:custClr>
    <a:custClr>
      <a:srgbClr val="FFE988"/>
    </a:custClr>
    <a:custClr>
      <a:srgbClr val="B9D689"/>
    </a:custClr>
    <a:custClr name="#">
      <a:srgbClr val="FFFFFF"/>
    </a:custClr>
    <a:custClr>
      <a:srgbClr val="E3D07D"/>
    </a:custClr>
    <a:custClr>
      <a:srgbClr val="CE7E96"/>
    </a:custClr>
    <a:custClr>
      <a:srgbClr val="7EA7C2"/>
    </a:custClr>
    <a:custClr>
      <a:srgbClr val="73A195"/>
    </a:custClr>
    <a:custClr name="BLUE GRAY">
      <a:srgbClr val="CED5DA"/>
    </a:custClr>
    <a:custClr name="#">
      <a:srgbClr val="FFFFFF"/>
    </a:custClr>
    <a:custClr>
      <a:srgbClr val="8ECCD8"/>
    </a:custClr>
    <a:custClr>
      <a:srgbClr val="FFF0AF"/>
    </a:custClr>
    <a:custClr>
      <a:srgbClr val="D0E3B0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SILVER GRAY">
      <a:srgbClr val="E3E3E3"/>
    </a:custClr>
    <a:custClr name="#">
      <a:srgbClr val="FFFFFF"/>
    </a:custClr>
    <a:custClr>
      <a:srgbClr val="C6E6EB"/>
    </a:custClr>
    <a:custClr>
      <a:srgbClr val="FFF7D7"/>
    </a:custClr>
    <a:custClr>
      <a:srgbClr val="E7F1D7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</a:custClrLst>
  <a:extLst>
    <a:ext uri="{05A4C25C-085E-4340-85A3-A5531E510DB2}">
      <thm15:themeFamily xmlns:thm15="http://schemas.microsoft.com/office/thememl/2012/main" name="Default Theme.pptx" id="{E28CBEE9-54E1-478F-88AA-7D82F42525ED}" vid="{EBD00C7B-63C6-4506-BFFB-1A88D349376F}"/>
    </a:ext>
  </a:extLst>
</a:theme>
</file>

<file path=ppt/theme/theme2.xml><?xml version="1.0" encoding="utf-8"?>
<a:theme xmlns:a="http://schemas.openxmlformats.org/drawingml/2006/main" name="Office Theme">
  <a:themeElements>
    <a:clrScheme name="Schaeffler">
      <a:dk1>
        <a:srgbClr val="262626"/>
      </a:dk1>
      <a:lt1>
        <a:srgbClr val="FFFFFF"/>
      </a:lt1>
      <a:dk2>
        <a:srgbClr val="646464"/>
      </a:dk2>
      <a:lt2>
        <a:srgbClr val="00893D"/>
      </a:lt2>
      <a:accent1>
        <a:srgbClr val="73A195"/>
      </a:accent1>
      <a:accent2>
        <a:srgbClr val="C0C6BF"/>
      </a:accent2>
      <a:accent3>
        <a:srgbClr val="878787"/>
      </a:accent3>
      <a:accent4>
        <a:srgbClr val="187E91"/>
      </a:accent4>
      <a:accent5>
        <a:srgbClr val="B6BAC2"/>
      </a:accent5>
      <a:accent6>
        <a:srgbClr val="B3D182"/>
      </a:accent6>
      <a:hlink>
        <a:srgbClr val="00893D"/>
      </a:hlink>
      <a:folHlink>
        <a:srgbClr val="26262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chaeffler">
      <a:dk1>
        <a:srgbClr val="262626"/>
      </a:dk1>
      <a:lt1>
        <a:srgbClr val="FFFFFF"/>
      </a:lt1>
      <a:dk2>
        <a:srgbClr val="646464"/>
      </a:dk2>
      <a:lt2>
        <a:srgbClr val="00893D"/>
      </a:lt2>
      <a:accent1>
        <a:srgbClr val="73A195"/>
      </a:accent1>
      <a:accent2>
        <a:srgbClr val="C0C6BF"/>
      </a:accent2>
      <a:accent3>
        <a:srgbClr val="878787"/>
      </a:accent3>
      <a:accent4>
        <a:srgbClr val="187E91"/>
      </a:accent4>
      <a:accent5>
        <a:srgbClr val="B6BAC2"/>
      </a:accent5>
      <a:accent6>
        <a:srgbClr val="B3D182"/>
      </a:accent6>
      <a:hlink>
        <a:srgbClr val="00893D"/>
      </a:hlink>
      <a:folHlink>
        <a:srgbClr val="26262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219</Words>
  <Application>Microsoft Office PowerPoint</Application>
  <PresentationFormat>Breitbild</PresentationFormat>
  <Paragraphs>73</Paragraphs>
  <Slides>9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5" baseType="lpstr">
      <vt:lpstr>Arial</vt:lpstr>
      <vt:lpstr>Calibri</vt:lpstr>
      <vt:lpstr>Symbol</vt:lpstr>
      <vt:lpstr>Wingdings 3</vt:lpstr>
      <vt:lpstr>Schaeffler Master 16:9</vt:lpstr>
      <vt:lpstr>think-cell Folie</vt:lpstr>
      <vt:lpstr>Zwischenstand T2000</vt:lpstr>
      <vt:lpstr>Agenda</vt:lpstr>
      <vt:lpstr>Virtual Creator</vt:lpstr>
      <vt:lpstr>Thema</vt:lpstr>
      <vt:lpstr>Agenda</vt:lpstr>
      <vt:lpstr>Zwischenstand</vt:lpstr>
      <vt:lpstr>Agenda</vt:lpstr>
      <vt:lpstr>Problem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wischenstand T2000</dc:title>
  <dc:creator>Richter, Lars  SH/HZA-HAADD</dc:creator>
  <dc:description>Office 2016</dc:description>
  <cp:lastModifiedBy>Richter, Lars  SH/HZA-HAADD</cp:lastModifiedBy>
  <cp:revision>1</cp:revision>
  <dcterms:created xsi:type="dcterms:W3CDTF">2024-02-07T07:01:25Z</dcterms:created>
  <dcterms:modified xsi:type="dcterms:W3CDTF">2024-02-07T07:21:56Z</dcterms:modified>
</cp:coreProperties>
</file>